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88" r:id="rId2"/>
    <p:sldId id="289" r:id="rId3"/>
    <p:sldId id="290" r:id="rId4"/>
    <p:sldId id="291" r:id="rId5"/>
    <p:sldId id="292" r:id="rId6"/>
    <p:sldId id="293" r:id="rId7"/>
    <p:sldId id="294" r:id="rId8"/>
    <p:sldId id="295" r:id="rId9"/>
    <p:sldId id="296" r:id="rId10"/>
    <p:sldId id="297" r:id="rId11"/>
    <p:sldId id="298" r:id="rId12"/>
    <p:sldId id="299" r:id="rId13"/>
    <p:sldId id="300" r:id="rId14"/>
    <p:sldId id="301" r:id="rId15"/>
    <p:sldId id="302" r:id="rId16"/>
    <p:sldId id="303" r:id="rId17"/>
    <p:sldId id="304" r:id="rId18"/>
    <p:sldId id="305" r:id="rId19"/>
    <p:sldId id="306" r:id="rId20"/>
    <p:sldId id="307" r:id="rId21"/>
    <p:sldId id="309" r:id="rId22"/>
    <p:sldId id="310" r:id="rId23"/>
    <p:sldId id="311" r:id="rId24"/>
    <p:sldId id="312" r:id="rId25"/>
    <p:sldId id="313" r:id="rId26"/>
    <p:sldId id="314" r:id="rId27"/>
    <p:sldId id="315" r:id="rId28"/>
    <p:sldId id="316" r:id="rId29"/>
    <p:sldId id="317" r:id="rId30"/>
    <p:sldId id="318" r:id="rId31"/>
    <p:sldId id="319" r:id="rId32"/>
    <p:sldId id="320" r:id="rId33"/>
  </p:sldIdLst>
  <p:sldSz cx="12192000" cy="6858000"/>
  <p:notesSz cx="6858000" cy="9144000"/>
  <p:custDataLst>
    <p:tags r:id="rId3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18" autoAdjust="0"/>
  </p:normalViewPr>
  <p:slideViewPr>
    <p:cSldViewPr snapToGrid="0">
      <p:cViewPr varScale="1">
        <p:scale>
          <a:sx n="160" d="100"/>
          <a:sy n="160" d="100"/>
        </p:scale>
        <p:origin x="116" y="31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50" d="100"/>
          <a:sy n="150" d="100"/>
        </p:scale>
        <p:origin x="422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84D513B-7638-DAD6-7308-F32497647A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30033-B6E4-4109-3DFA-833B0142A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C4793-47D2-3840-A28A-00BF7783C1F5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8E13-C38B-8C03-062B-31363D588F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BFF5C0-0BE2-F23B-7FA1-85D5BC4C0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F4806-4740-AD4A-A8E1-48AAD509DB8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024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2.05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4D7A932-F301-D7B4-B62C-7335A7C294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F80A35-1B23-E5CA-2634-9D4050C50E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E7C9326-63FC-995A-7315-4DB47CE213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85CE4A-C021-5A86-9B0F-7F677EC17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24785D-98AC-E69A-DBBC-23F8D6E279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E5CDDC-6B4E-543D-76F9-C06E565474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A1F16D-10F2-D8C9-AACB-C5719F730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EF686F0-3A85-855E-E40F-C2219E4437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BEEAD9-330E-568B-8874-8BD69B797F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39D2683-38FF-AFD9-62C0-15A4F2BD29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95689A7-3464-92DC-47BF-E0BB11077A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CA972B9-2B78-3CFF-A633-16201C488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54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322AB3B5-E091-6DA8-B11E-4B849D8BC4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72DDAA7-1913-9D99-694C-530F9A4BC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6771853-9034-A7DF-C003-85C66F8FDE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3B5C574-FEDE-8E05-9108-B9EE3041A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F19A50D3-DB8A-FA0C-3AE2-FE167D5107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40C70-81B5-3454-17E6-FC43F0E51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5C64A28-83D7-00D5-05F8-C3BB1AB29A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A5563E93-4D0C-299A-5E25-4468A94CCD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reative Layout 01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75469647-9458-4ABA-6368-CCC383DBB6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669D08-01BB-182E-9995-A3B0CC34D6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title and </a:t>
            </a:r>
            <a:br>
              <a:rPr lang="de-DE" dirty="0"/>
            </a:b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on 3 </a:t>
            </a:r>
            <a:r>
              <a:rPr lang="de-DE" dirty="0" err="1"/>
              <a:t>to</a:t>
            </a:r>
            <a:r>
              <a:rPr lang="de-DE" dirty="0"/>
              <a:t> 4 </a:t>
            </a:r>
            <a:r>
              <a:rPr lang="de-DE" dirty="0" err="1"/>
              <a:t>line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1D6D1393-87C6-57B5-280F-D611B73D1A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510F38C-42EC-07ED-6FA6-84D09ED96F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12700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Creative Layout 2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BE5D53D-BCD0-5D28-FBD3-1F4ACFCE61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92DF711-4524-25F1-C2EE-0899568C6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4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022C25D-2E00-D2CC-7911-67F8B9B902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6319" y="2664437"/>
            <a:ext cx="35480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AADCEA2-6ABA-9DA0-A6A5-B12298CE47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9338E1-BBB2-3DA4-FEC8-7FF319009A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592650" y="3945010"/>
            <a:ext cx="4575402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AB37513-AB5B-B895-7D75-27B01C55A2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71D5903-43BA-30A5-6571-867EA308D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92D033D-5730-8CEA-8014-373963BC2B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de-DE" dirty="0"/>
              <a:t>Quote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Georgia, Italic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1"/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Quotes</a:t>
            </a:r>
            <a:r>
              <a:rPr lang="de-DE" dirty="0"/>
              <a:t>, Georgia, Italic,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 err="1"/>
              <a:t>Author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B62593-4833-D284-F300-743AB8736C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A9377A7-9964-0085-3DDA-EFFF3F8AB1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Quote, Georgia, Italic, 30 pt</a:t>
            </a:r>
            <a:br>
              <a:rPr lang="de-DE"/>
            </a:br>
            <a:r>
              <a:rPr lang="de-DE"/>
              <a:t>No more than 5 lines of text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1A8906-3BAB-9B1B-7B8D-9C4B5E928B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6F3C428-2DEE-0AC6-07DA-19F6BFCF6C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Short Quote, Georgia, Italic, 30 pt</a:t>
            </a:r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3D1D2555-CF2A-C261-7696-04D74B4933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181D06-6D4D-E10B-98D8-28C56779EC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5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Author’s inform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91F05A1-B2DE-0853-6616-094FC0FB3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2C7EC6-CA74-0075-0FA9-34DF9F6C64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000" b="1" dirty="0">
                <a:solidFill>
                  <a:schemeClr val="tx2"/>
                </a:solidFill>
              </a:rPr>
              <a:t>Connect </a:t>
            </a:r>
            <a:r>
              <a:rPr lang="de-CH" sz="4000" b="1" dirty="0" err="1">
                <a:solidFill>
                  <a:schemeClr val="tx2"/>
                </a:solidFill>
              </a:rPr>
              <a:t>with</a:t>
            </a:r>
            <a:r>
              <a:rPr lang="de-CH" sz="4000" b="1" dirty="0">
                <a:solidFill>
                  <a:schemeClr val="tx2"/>
                </a:solidFill>
              </a:rPr>
              <a:t>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9CE8B6-73A9-6FF9-A30F-7EA1B9E603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154664E-EF8F-2A73-F0C2-C13E87133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CH" sz="4000" b="1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european</a:t>
            </a:r>
            <a:r>
              <a:rPr lang="de-DE" dirty="0"/>
              <a:t>-southern-</a:t>
            </a:r>
            <a:r>
              <a:rPr lang="de-DE" dirty="0" err="1"/>
              <a:t>observatory</a:t>
            </a:r>
            <a:endParaRPr lang="de-DE" dirty="0"/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Author’s</a:t>
            </a:r>
            <a:r>
              <a:rPr lang="de-DE" dirty="0"/>
              <a:t> </a:t>
            </a:r>
            <a:r>
              <a:rPr lang="de-DE" dirty="0" err="1"/>
              <a:t>info</a:t>
            </a:r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941B6000-DEE0-841B-E6A3-C83E7FD296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190B92A-1EE4-0570-A2B9-69718A090F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br>
              <a:rPr lang="de-DE" dirty="0"/>
            </a:br>
            <a:r>
              <a:rPr lang="de-DE" dirty="0" err="1"/>
              <a:t>section</a:t>
            </a:r>
            <a:r>
              <a:rPr lang="de-DE" dirty="0"/>
              <a:t> titl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ue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AAEDBFC-165D-702E-F35C-D5C5028420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DDFF2DF-F394-8F40-A840-BAE761E97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09653DD-40ED-53A7-D137-196EF2C43A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A73702A-B2C4-BDFE-EF01-DB5FE9F512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0C99BD-D6C3-4958-E4CC-2E5EF4D993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en-US"/>
              <a:t>Here the section title Author and Occasion in Italic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8987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 white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09653DD-40ED-53A7-D137-196EF2C43A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A73702A-B2C4-BDFE-EF01-DB5FE9F512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F606644-A36C-6E05-BC18-62CD733585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/>
              <a:t>Here the section title Author and Occasion in Italic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2634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c white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09653DD-40ED-53A7-D137-196EF2C43A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A73702A-B2C4-BDFE-EF01-DB5FE9F512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202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98A75FF4-CEF3-D671-C53E-F7A315CB37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BD41862-8D21-61E4-CF34-3B16A5BC68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F583A90-5ADD-0EB2-30E7-DF50C747A6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18FC7E-1F37-F02B-53A0-7054ABE79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12C34057-C7BB-7AC9-ABA6-28B1EF8E17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3DB7754-9F32-6858-808C-E04BDA1981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blu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A83983A7-122C-0FD8-D3FF-9BD31D5ED1B1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835C84E-34C1-B63C-98A2-71E47D8E29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A41BF0F-68DA-53EC-F4E5-4287010875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de-DE" dirty="0"/>
              <a:t>1-Column Text +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7DA5934-2A78-155A-7A06-4E47BA3BC5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4E27BD-FBC3-B172-502A-D91C490C0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Headline </a:t>
            </a:r>
            <a:r>
              <a:rPr lang="de-DE" dirty="0" err="1"/>
              <a:t>add</a:t>
            </a:r>
            <a:r>
              <a:rPr lang="de-DE" dirty="0"/>
              <a:t>-on, Arial Italic, 18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6332371-1A09-D1DC-AC64-0BF13C64A2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09A0045-EFAD-F856-BAF3-48862888DD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410" imgH="409" progId="TCLayout.ActiveDocument.1">
                  <p:embed/>
                </p:oleObj>
              </mc:Choice>
              <mc:Fallback>
                <p:oleObj name="think-cell Folie" r:id="rId35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Quote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EE28BF-B90E-FF1F-1FF2-1B0D4F695E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B79F50-952A-A95E-A761-18904E611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81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  <p:sldLayoutId id="2147483680" r:id="rId29"/>
    <p:sldLayoutId id="2147483682" r:id="rId30"/>
    <p:sldLayoutId id="2147483683" r:id="rId31"/>
    <p:sldLayoutId id="2147483684" r:id="rId3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13.png"/><Relationship Id="rId7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image" Target="../media/image46.emf"/><Relationship Id="rId7" Type="http://schemas.openxmlformats.org/officeDocument/2006/relationships/image" Target="../media/image50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10" Type="http://schemas.openxmlformats.org/officeDocument/2006/relationships/image" Target="../media/image3.svg"/><Relationship Id="rId4" Type="http://schemas.openxmlformats.org/officeDocument/2006/relationships/image" Target="../media/image47.emf"/><Relationship Id="rId9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4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59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6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10" Type="http://schemas.openxmlformats.org/officeDocument/2006/relationships/image" Target="../media/image6.svg"/><Relationship Id="rId4" Type="http://schemas.openxmlformats.org/officeDocument/2006/relationships/image" Target="../media/image20.jpeg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BF27D66-6F79-3C6E-021A-DFAD2599B11E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’s impact </a:t>
            </a:r>
            <a:r>
              <a:rPr lang="en-GB" dirty="0"/>
              <a:t>and sustainability efforts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0702F4-D3E1-3C5F-585E-411BBF864D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B15900-9CED-8232-4406-9B8BA6C0DAA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295106-1478-9304-9AB9-25D90B322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0005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CC992-7086-59ED-6153-D7DAA23C767B}"/>
              </a:ext>
            </a:extLst>
          </p:cNvPr>
          <p:cNvSpPr txBox="1">
            <a:spLocks/>
          </p:cNvSpPr>
          <p:nvPr/>
        </p:nvSpPr>
        <p:spPr>
          <a:xfrm>
            <a:off x="936624" y="-10522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latin typeface="+mn-lt"/>
                <a:ea typeface="+mn-lt"/>
                <a:cs typeface="+mn-lt"/>
              </a:rPr>
              <a:t>ESO’s ELT technology innovations</a:t>
            </a:r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496EAC1-FC0B-4AE3-50A8-1BF1D0D5FFB4}"/>
              </a:ext>
            </a:extLst>
          </p:cNvPr>
          <p:cNvSpPr txBox="1">
            <a:spLocks/>
          </p:cNvSpPr>
          <p:nvPr/>
        </p:nvSpPr>
        <p:spPr>
          <a:xfrm>
            <a:off x="936624" y="1567453"/>
            <a:ext cx="9847264" cy="3017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New large coated silicon-carbide mirrors, with applications to aviation and space missions</a:t>
            </a:r>
          </a:p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New cooling system for delicate locations inside the telescope that is safer and environmentally friendly</a:t>
            </a:r>
          </a:p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Novel seismic isolation for superheavy structures, applicable to civil engineering</a:t>
            </a:r>
          </a:p>
        </p:txBody>
      </p:sp>
      <p:pic>
        <p:nvPicPr>
          <p:cNvPr id="4" name="Picture Placeholder 6" descr="A picture containing light&#10;&#10;Description automatically generated">
            <a:extLst>
              <a:ext uri="{FF2B5EF4-FFF2-40B4-BE49-F238E27FC236}">
                <a16:creationId xmlns:a16="http://schemas.microsoft.com/office/drawing/2014/main" id="{27DCCDAF-83D7-6BEF-8203-A99AF73B56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5" name="Picture Placeholder 13" descr="A picture containing light&#10;&#10;Description automatically generated">
            <a:extLst>
              <a:ext uri="{FF2B5EF4-FFF2-40B4-BE49-F238E27FC236}">
                <a16:creationId xmlns:a16="http://schemas.microsoft.com/office/drawing/2014/main" id="{2DBC5DE7-7206-74E3-BECD-63E5F41E21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4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6" name="Picture Placeholder 17" descr="A model of a ship&#10;&#10;Description automatically generated with medium confidence">
            <a:extLst>
              <a:ext uri="{FF2B5EF4-FFF2-40B4-BE49-F238E27FC236}">
                <a16:creationId xmlns:a16="http://schemas.microsoft.com/office/drawing/2014/main" id="{1A3D1B39-305D-4D38-A3B7-8567E69A65A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48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98323B1E-5AD6-6D45-A087-7B681D075C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5202B61-8489-4E34-FF7A-1BB803B2EC9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550F06-9C65-4DDB-3090-A0E261E13E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955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965E4CE-F4B5-84E9-8850-EBA8D71DD10E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conomy and innovation impact</a:t>
            </a:r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2BF51E5A-F586-7BE6-5C71-701A182ED71E}"/>
              </a:ext>
            </a:extLst>
          </p:cNvPr>
          <p:cNvSpPr txBox="1">
            <a:spLocks/>
          </p:cNvSpPr>
          <p:nvPr/>
        </p:nvSpPr>
        <p:spPr>
          <a:xfrm>
            <a:off x="936624" y="1739461"/>
            <a:ext cx="2823058" cy="1606787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 dirty="0"/>
              <a:t>ESO technologies applied in optics, intercontinental data transfer, medicine, imaging, sensor and detector technology</a:t>
            </a: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22616CC7-E30C-D458-8D93-83BDA705F232}"/>
              </a:ext>
            </a:extLst>
          </p:cNvPr>
          <p:cNvSpPr txBox="1">
            <a:spLocks/>
          </p:cNvSpPr>
          <p:nvPr/>
        </p:nvSpPr>
        <p:spPr>
          <a:xfrm>
            <a:off x="936624" y="4524581"/>
            <a:ext cx="2637976" cy="898900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no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dirty="0"/>
              <a:t>80%</a:t>
            </a:r>
            <a:r>
              <a:rPr lang="en-GB" sz="1800" b="0" dirty="0"/>
              <a:t> of the € 1.3 billion ELT construction budget is for contracts with industry</a:t>
            </a:r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812BA531-0142-2C81-BA17-24A1D5FB5383}"/>
              </a:ext>
            </a:extLst>
          </p:cNvPr>
          <p:cNvSpPr txBox="1">
            <a:spLocks/>
          </p:cNvSpPr>
          <p:nvPr/>
        </p:nvSpPr>
        <p:spPr>
          <a:xfrm>
            <a:off x="8416065" y="2027682"/>
            <a:ext cx="3028843" cy="898900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dirty="0"/>
              <a:t>60% </a:t>
            </a:r>
            <a:r>
              <a:rPr lang="en-GB" sz="1800" b="0" dirty="0"/>
              <a:t>of the ESO budget is for design and construction of telescopes and instruments</a:t>
            </a: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A5B6B695-C511-B5EA-6E0A-33C43F6488EB}"/>
              </a:ext>
            </a:extLst>
          </p:cNvPr>
          <p:cNvSpPr txBox="1">
            <a:spLocks/>
          </p:cNvSpPr>
          <p:nvPr/>
        </p:nvSpPr>
        <p:spPr>
          <a:xfrm>
            <a:off x="8416065" y="4900736"/>
            <a:ext cx="2917885" cy="1206677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 dirty="0"/>
              <a:t>of that, </a:t>
            </a:r>
            <a:r>
              <a:rPr lang="en-GB" sz="1800" dirty="0"/>
              <a:t>90% </a:t>
            </a:r>
            <a:r>
              <a:rPr lang="en-GB" sz="1800" b="0" dirty="0"/>
              <a:t>is used for high-tech innovation led by industry and research in Member States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F24AE6A-F1A1-FF2B-B831-C3014B1B13B1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DA8D2826-2428-93C8-2689-3E5642B197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45F247-1F11-BEED-B89D-72A3539D30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735379-CF87-FF6C-093D-39B23D41C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1EDCEA-C482-6387-1B9A-39B63FFD1A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0291088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1DD56ED-6EFB-A062-680E-3B721C1659A4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alent development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A7AA0D4-C5A7-7BB7-7159-31E71ABAE8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05764D-34CD-661B-D277-5945A374F88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B6704-4C4A-A2AF-3E3B-016730EC1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6705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group of people sitting in a classroom&#10;&#10;Description automatically generated with medium confidence">
            <a:extLst>
              <a:ext uri="{FF2B5EF4-FFF2-40B4-BE49-F238E27FC236}">
                <a16:creationId xmlns:a16="http://schemas.microsoft.com/office/drawing/2014/main" id="{6DEA0B6F-090D-5AE4-42BF-ACB8926BE8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1B63E94-5EC4-4A7B-281E-D8942BEF491B}"/>
              </a:ext>
            </a:extLst>
          </p:cNvPr>
          <p:cNvSpPr txBox="1">
            <a:spLocks/>
          </p:cNvSpPr>
          <p:nvPr/>
        </p:nvSpPr>
        <p:spPr>
          <a:xfrm>
            <a:off x="5626100" y="4636659"/>
            <a:ext cx="5700368" cy="12685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/>
              <a:t>ESO is investing in the </a:t>
            </a:r>
            <a:r>
              <a:rPr lang="en-GB" b="1" dirty="0"/>
              <a:t>next generations</a:t>
            </a:r>
            <a:r>
              <a:rPr lang="en-GB" dirty="0"/>
              <a:t>,</a:t>
            </a:r>
            <a:br>
              <a:rPr lang="en-GB" dirty="0"/>
            </a:br>
            <a:r>
              <a:rPr lang="en-GB" dirty="0"/>
              <a:t>offering programmes from undergraduate to post-doctoral level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C4ADDA1-AFB1-D32E-6505-FE5B8D41C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202B1A-2A94-F854-8BAC-507A638979D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E9E235-20B9-28F5-C423-DB5E54C1E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2447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E5B32-271E-4CE6-A42E-68A1D720E702}"/>
              </a:ext>
            </a:extLst>
          </p:cNvPr>
          <p:cNvSpPr txBox="1">
            <a:spLocks/>
          </p:cNvSpPr>
          <p:nvPr/>
        </p:nvSpPr>
        <p:spPr>
          <a:xfrm>
            <a:off x="936624" y="-10522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+mn-lt"/>
                <a:ea typeface="+mn-lt"/>
                <a:cs typeface="+mn-lt"/>
              </a:rPr>
              <a:t>Programmes for the next generations</a:t>
            </a:r>
            <a:endParaRPr lang="en-GB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A1844359-E96C-E312-484B-7B553C231CAB}"/>
              </a:ext>
            </a:extLst>
          </p:cNvPr>
          <p:cNvSpPr txBox="1">
            <a:spLocks/>
          </p:cNvSpPr>
          <p:nvPr/>
        </p:nvSpPr>
        <p:spPr>
          <a:xfrm>
            <a:off x="936624" y="1567453"/>
            <a:ext cx="9847264" cy="3017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Competitive studentships and fellowships in astronomy and engineering</a:t>
            </a:r>
          </a:p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Internships in astronomy, engineering, science communication, science policy and diplomacy, human resources</a:t>
            </a:r>
          </a:p>
          <a:p>
            <a:pPr marL="285750" indent="-285750">
              <a:lnSpc>
                <a:spcPts val="2400"/>
              </a:lnSpc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Summer research programmes and observing summer schools</a:t>
            </a:r>
          </a:p>
        </p:txBody>
      </p:sp>
      <p:pic>
        <p:nvPicPr>
          <p:cNvPr id="4" name="Picture Placeholder 6">
            <a:extLst>
              <a:ext uri="{FF2B5EF4-FFF2-40B4-BE49-F238E27FC236}">
                <a16:creationId xmlns:a16="http://schemas.microsoft.com/office/drawing/2014/main" id="{63E6A1D7-C8DC-7E8D-4470-D349F8C180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5" name="Picture Placeholder 15" descr="A group of people looking at a computer&#10;&#10;Description automatically generated with low confidence">
            <a:extLst>
              <a:ext uri="{FF2B5EF4-FFF2-40B4-BE49-F238E27FC236}">
                <a16:creationId xmlns:a16="http://schemas.microsoft.com/office/drawing/2014/main" id="{425737AD-B6EF-B0BD-D2A7-CC491CA67C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4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6" name="Picture Placeholder 19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A65E2016-F830-9977-4DBE-24F07B5568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348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7F54094D-87C8-CE05-075A-F65264A179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1F1407-13B8-AECB-686C-D6679342BE45}"/>
              </a:ext>
            </a:extLst>
          </p:cNvPr>
          <p:cNvSpPr txBox="1"/>
          <p:nvPr/>
        </p:nvSpPr>
        <p:spPr>
          <a:xfrm rot="-5400000">
            <a:off x="7221744" y="5791055"/>
            <a:ext cx="1980000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73262D-76A0-4D0B-9B31-5EBB87771898}"/>
              </a:ext>
            </a:extLst>
          </p:cNvPr>
          <p:cNvSpPr txBox="1"/>
          <p:nvPr/>
        </p:nvSpPr>
        <p:spPr>
          <a:xfrm rot="-5400000">
            <a:off x="3154345" y="5791055"/>
            <a:ext cx="1980000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Zamani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955D4E4-A2D2-2460-41A5-FE4C79ECAD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72920C45-898E-E15D-FF03-3FF178C98C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5568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EE4FD09-4A9E-9168-026A-A2A127BDAC9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alent development impact</a:t>
            </a:r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0FB2E9C8-D116-36DB-075E-5C0C43A7D502}"/>
              </a:ext>
            </a:extLst>
          </p:cNvPr>
          <p:cNvSpPr txBox="1">
            <a:spLocks/>
          </p:cNvSpPr>
          <p:nvPr/>
        </p:nvSpPr>
        <p:spPr>
          <a:xfrm>
            <a:off x="936624" y="2344700"/>
            <a:ext cx="3264860" cy="991233"/>
          </a:xfrm>
          <a:prstGeom prst="rect">
            <a:avLst/>
          </a:prstGeom>
          <a:noFill/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 dirty="0"/>
              <a:t>from more than 40 </a:t>
            </a:r>
            <a:br>
              <a:rPr lang="en-GB" dirty="0"/>
            </a:br>
            <a:r>
              <a:rPr lang="en-GB" dirty="0"/>
              <a:t>countries in science and engineering</a:t>
            </a: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8C57050E-5418-FB0D-2711-65A1459353F3}"/>
              </a:ext>
            </a:extLst>
          </p:cNvPr>
          <p:cNvSpPr txBox="1">
            <a:spLocks/>
          </p:cNvSpPr>
          <p:nvPr/>
        </p:nvSpPr>
        <p:spPr>
          <a:xfrm>
            <a:off x="936624" y="4289001"/>
            <a:ext cx="3345531" cy="1607551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 dirty="0"/>
              <a:t>in science writing, </a:t>
            </a:r>
            <a:br>
              <a:rPr lang="en-GB" sz="1800" b="0" dirty="0"/>
            </a:br>
            <a:r>
              <a:rPr lang="en-GB" sz="1800" b="0" dirty="0"/>
              <a:t>astronomy, graphic </a:t>
            </a:r>
            <a:br>
              <a:rPr lang="en-GB" sz="1800" b="0" dirty="0"/>
            </a:br>
            <a:r>
              <a:rPr lang="en-GB" sz="1800" b="0" dirty="0"/>
              <a:t>design, engineering, science policy, and administration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33D75261-37E1-236A-F40E-4CAAEC2F0B71}"/>
              </a:ext>
            </a:extLst>
          </p:cNvPr>
          <p:cNvSpPr txBox="1">
            <a:spLocks/>
          </p:cNvSpPr>
          <p:nvPr/>
        </p:nvSpPr>
        <p:spPr>
          <a:xfrm>
            <a:off x="7512421" y="2344700"/>
            <a:ext cx="3962400" cy="991233"/>
          </a:xfrm>
          <a:prstGeom prst="rect">
            <a:avLst/>
          </a:prstGeom>
          <a:noFill/>
          <a:effectLst/>
        </p:spPr>
        <p:txBody>
          <a:bodyPr lIns="0" tIns="0" rIns="0" bIns="0" anchor="t">
            <a:no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/>
              <a:t>from more than 30 countries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A203B984-44F3-5716-049A-D3DE9CC6F2CF}"/>
              </a:ext>
            </a:extLst>
          </p:cNvPr>
          <p:cNvSpPr txBox="1">
            <a:spLocks/>
          </p:cNvSpPr>
          <p:nvPr/>
        </p:nvSpPr>
        <p:spPr>
          <a:xfrm>
            <a:off x="7493795" y="4260426"/>
            <a:ext cx="3759993" cy="2122686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/>
              <a:t>in areas such as astronomy, space exploration, engineering, operations, information technology, education, business development, programme and project management, media &amp; communications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0D994B62-65E4-6E00-02B7-345B417B129C}"/>
              </a:ext>
            </a:extLst>
          </p:cNvPr>
          <p:cNvSpPr txBox="1">
            <a:spLocks/>
          </p:cNvSpPr>
          <p:nvPr/>
        </p:nvSpPr>
        <p:spPr>
          <a:xfrm>
            <a:off x="7492101" y="1873643"/>
            <a:ext cx="3962400" cy="448325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/>
              <a:t>150 postdoctoral fellows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CAB2DCE3-FA81-BCF2-AFEB-71CF9D64A75D}"/>
              </a:ext>
            </a:extLst>
          </p:cNvPr>
          <p:cNvSpPr txBox="1">
            <a:spLocks/>
          </p:cNvSpPr>
          <p:nvPr/>
        </p:nvSpPr>
        <p:spPr>
          <a:xfrm>
            <a:off x="7498874" y="3782736"/>
            <a:ext cx="3962400" cy="448325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/>
              <a:t>800+ ESO alumni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F1CE8711-4661-76C6-1A26-634C5F1BB477}"/>
              </a:ext>
            </a:extLst>
          </p:cNvPr>
          <p:cNvSpPr txBox="1">
            <a:spLocks/>
          </p:cNvSpPr>
          <p:nvPr/>
        </p:nvSpPr>
        <p:spPr>
          <a:xfrm>
            <a:off x="936624" y="3811311"/>
            <a:ext cx="3962400" cy="448325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/>
              <a:t>90 interns</a:t>
            </a:r>
          </a:p>
        </p:txBody>
      </p: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7A6E5A3-6F37-8316-9C7A-25243D3E2C21}"/>
              </a:ext>
            </a:extLst>
          </p:cNvPr>
          <p:cNvSpPr txBox="1">
            <a:spLocks/>
          </p:cNvSpPr>
          <p:nvPr/>
        </p:nvSpPr>
        <p:spPr>
          <a:xfrm>
            <a:off x="936624" y="1873643"/>
            <a:ext cx="3962400" cy="448325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 dirty="0"/>
              <a:t>260 students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75B8AC8-DFC5-BAEA-2DE5-6AC79260031F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fik 27">
            <a:extLst>
              <a:ext uri="{FF2B5EF4-FFF2-40B4-BE49-F238E27FC236}">
                <a16:creationId xmlns:a16="http://schemas.microsoft.com/office/drawing/2014/main" id="{F27D0C7D-5742-4C17-C3CF-8789835B33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0D238E-7DBB-5231-27FE-C1DC4CEC65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A7248F-37F5-4C28-2270-CE3599FC72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4CAFF6A-8114-0972-B08A-F06707817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1321307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443E40A-741B-22E4-D95C-9E24FCA631A8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ducation and outreach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6F7570-5D6E-D010-13B4-9831C6621A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6C07EB-F476-D490-83CF-D5D2B282DCA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09EB14-4FA1-9E0F-7146-803DD20424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82262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0CD1E597-AAA4-0E9C-A8B4-1C6A205B4BB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A95F6A7-945A-BC9C-A90A-B423AB4D4153}"/>
              </a:ext>
            </a:extLst>
          </p:cNvPr>
          <p:cNvSpPr txBox="1">
            <a:spLocks/>
          </p:cNvSpPr>
          <p:nvPr/>
        </p:nvSpPr>
        <p:spPr>
          <a:xfrm>
            <a:off x="8657738" y="4122738"/>
            <a:ext cx="2819400" cy="119853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e, </a:t>
            </a:r>
          </a:p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pire </a:t>
            </a:r>
            <a:b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 educat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D17EAC3-E5BC-B559-FFF6-81EECA7C15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BA6462-4E24-8446-2A2A-F88EFBA6726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4C1856-D16F-38B0-77D7-609F780A08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11191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703E7F18-5415-8D24-6CFA-FB9C1E7626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64283D5-3FCE-4205-45A8-105770CA514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944027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ESO Supernova Planetarium &amp; Visitor Cent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9CA985-3538-FEE6-8E04-C2AF71347A10}"/>
              </a:ext>
            </a:extLst>
          </p:cNvPr>
          <p:cNvSpPr txBox="1">
            <a:spLocks/>
          </p:cNvSpPr>
          <p:nvPr/>
        </p:nvSpPr>
        <p:spPr>
          <a:xfrm>
            <a:off x="936623" y="4972394"/>
            <a:ext cx="5147376" cy="126855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>
                <a:solidFill>
                  <a:srgbClr val="FFFFFF"/>
                </a:solidFill>
                <a:effectLst/>
                <a:latin typeface="Arial" panose="020B0604020202020204"/>
                <a:cs typeface="Arial"/>
              </a:rPr>
              <a:t>A cutting-edge free astronomy centre </a:t>
            </a:r>
            <a:r>
              <a:rPr lang="en-GB" b="1" dirty="0">
                <a:solidFill>
                  <a:srgbClr val="FFFFFF"/>
                </a:solidFill>
                <a:effectLst/>
                <a:latin typeface="Arial" panose="020B0604020202020204"/>
                <a:cs typeface="Arial"/>
              </a:rPr>
              <a:t>for the public</a:t>
            </a:r>
            <a:r>
              <a:rPr lang="en-GB" dirty="0">
                <a:solidFill>
                  <a:srgbClr val="FFFFFF"/>
                </a:solidFill>
                <a:effectLst/>
                <a:latin typeface="Arial" panose="020B0604020202020204"/>
                <a:cs typeface="Arial"/>
              </a:rPr>
              <a:t> located at the site of ESO Headquarters in Germany</a:t>
            </a:r>
          </a:p>
        </p:txBody>
      </p:sp>
      <p:pic>
        <p:nvPicPr>
          <p:cNvPr id="5" name="Grafik 29">
            <a:extLst>
              <a:ext uri="{FF2B5EF4-FFF2-40B4-BE49-F238E27FC236}">
                <a16:creationId xmlns:a16="http://schemas.microsoft.com/office/drawing/2014/main" id="{85D91980-D7B0-BE5B-E3B1-22608DE8E5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0B3DA4D-0D69-02C5-55E2-C6E484C48C93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Fotos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rillux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, Sven Rahm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Fotografie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63ED6E-51EB-C965-D777-CEB4833E30E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13EA30D-B74A-6D1A-3328-37D0D3AEF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9694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AE7D08-FA1B-F391-25F1-DD62D2C88891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9214243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ESO Supernova Planetarium &amp; Visitor Cent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317475-80AC-23A4-4C34-FD0933925276}"/>
              </a:ext>
            </a:extLst>
          </p:cNvPr>
          <p:cNvSpPr txBox="1">
            <a:spLocks/>
          </p:cNvSpPr>
          <p:nvPr/>
        </p:nvSpPr>
        <p:spPr>
          <a:xfrm>
            <a:off x="6330461" y="2014539"/>
            <a:ext cx="4924800" cy="30770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Interactive exhibition and planetarium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Educational workshops and materials for teachers and pupils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Supporting materials​ for planetariums and science centres worldwide</a:t>
            </a:r>
          </a:p>
          <a:p>
            <a:pPr marL="285750" indent="-2857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70 000 visitors per year</a:t>
            </a:r>
          </a:p>
        </p:txBody>
      </p:sp>
      <p:pic>
        <p:nvPicPr>
          <p:cNvPr id="6" name="Picture Placeholder 6">
            <a:extLst>
              <a:ext uri="{FF2B5EF4-FFF2-40B4-BE49-F238E27FC236}">
                <a16:creationId xmlns:a16="http://schemas.microsoft.com/office/drawing/2014/main" id="{8E7FEC1C-20A7-47FE-0986-5309144E63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1" r="15271"/>
          <a:stretch/>
        </p:blipFill>
        <p:spPr>
          <a:xfrm>
            <a:off x="936624" y="2014539"/>
            <a:ext cx="4924800" cy="3906836"/>
          </a:xfrm>
          <a:prstGeom prst="rect">
            <a:avLst/>
          </a:prstGeom>
          <a:solidFill>
            <a:srgbClr val="D2108D"/>
          </a:solidFill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9BDFA38-184F-0ACA-57DF-151235E9287E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438BCF83-38C6-2251-80ED-65455D0D65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50C7AC-4A80-AD63-6C10-1A62EDD56BF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1874EE-CDBE-A7C4-4CC8-57125D44D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200E6D7-E594-3FD4-7D89-6BFBFD7A59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808866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8908FFC-08EA-230E-79A4-BC8F8A105D67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’s impact areas</a:t>
            </a:r>
          </a:p>
        </p:txBody>
      </p:sp>
      <p:pic>
        <p:nvPicPr>
          <p:cNvPr id="17" name="Bildplatzhalter 11">
            <a:extLst>
              <a:ext uri="{FF2B5EF4-FFF2-40B4-BE49-F238E27FC236}">
                <a16:creationId xmlns:a16="http://schemas.microsoft.com/office/drawing/2014/main" id="{3607241B-E012-E380-1008-8ECD73AEF02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215" r="3215"/>
          <a:stretch/>
        </p:blipFill>
        <p:spPr>
          <a:xfrm>
            <a:off x="864598" y="2176632"/>
            <a:ext cx="1587195" cy="1696280"/>
          </a:xfrm>
          <a:prstGeom prst="rect">
            <a:avLst/>
          </a:prstGeom>
          <a:noFill/>
          <a:ln w="0"/>
        </p:spPr>
      </p:pic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291C3E6-39ED-9526-543B-3364D637A775}"/>
              </a:ext>
            </a:extLst>
          </p:cNvPr>
          <p:cNvSpPr txBox="1">
            <a:spLocks/>
          </p:cNvSpPr>
          <p:nvPr/>
        </p:nvSpPr>
        <p:spPr>
          <a:xfrm>
            <a:off x="868439" y="3909746"/>
            <a:ext cx="1597849" cy="68352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ts val="2400"/>
              </a:lnSpc>
            </a:pPr>
            <a:r>
              <a:rPr lang="en-GB" b="1">
                <a:solidFill>
                  <a:schemeClr val="tx2"/>
                </a:solidFill>
              </a:rPr>
              <a:t>Science and engineering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382AC5A9-83CE-813B-EB7F-5C0FF7A0B02D}"/>
              </a:ext>
            </a:extLst>
          </p:cNvPr>
          <p:cNvSpPr txBox="1">
            <a:spLocks/>
          </p:cNvSpPr>
          <p:nvPr/>
        </p:nvSpPr>
        <p:spPr>
          <a:xfrm>
            <a:off x="2968428" y="3909746"/>
            <a:ext cx="1870057" cy="68352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ts val="2400"/>
              </a:lnSpc>
            </a:pPr>
            <a:r>
              <a:rPr lang="en-GB" b="1">
                <a:solidFill>
                  <a:schemeClr val="tx2"/>
                </a:solidFill>
              </a:rPr>
              <a:t>Economy and innovation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F5259E39-1273-E5E1-585B-C18292EA5E8E}"/>
              </a:ext>
            </a:extLst>
          </p:cNvPr>
          <p:cNvSpPr txBox="1">
            <a:spLocks/>
          </p:cNvSpPr>
          <p:nvPr/>
        </p:nvSpPr>
        <p:spPr>
          <a:xfrm>
            <a:off x="5216095" y="3909746"/>
            <a:ext cx="1749380" cy="68352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ts val="2400"/>
              </a:lnSpc>
            </a:pPr>
            <a:r>
              <a:rPr lang="en-GB" b="1">
                <a:solidFill>
                  <a:schemeClr val="tx2"/>
                </a:solidFill>
              </a:rPr>
              <a:t>Talent development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4799B43B-A83C-9188-0421-F69C94FE26E3}"/>
              </a:ext>
            </a:extLst>
          </p:cNvPr>
          <p:cNvSpPr txBox="1">
            <a:spLocks/>
          </p:cNvSpPr>
          <p:nvPr/>
        </p:nvSpPr>
        <p:spPr>
          <a:xfrm>
            <a:off x="7432897" y="3909746"/>
            <a:ext cx="1689821" cy="68352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ts val="2400"/>
              </a:lnSpc>
            </a:pPr>
            <a:r>
              <a:rPr lang="en-GB" b="1">
                <a:solidFill>
                  <a:schemeClr val="tx2"/>
                </a:solidFill>
              </a:rPr>
              <a:t>Education and outreach</a:t>
            </a:r>
          </a:p>
        </p:txBody>
      </p:sp>
      <p:pic>
        <p:nvPicPr>
          <p:cNvPr id="22" name="Bildplatzhalter 13">
            <a:extLst>
              <a:ext uri="{FF2B5EF4-FFF2-40B4-BE49-F238E27FC236}">
                <a16:creationId xmlns:a16="http://schemas.microsoft.com/office/drawing/2014/main" id="{E2F550DB-BBBE-30A5-B171-254CEBBBB4D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15" r="3215"/>
          <a:stretch/>
        </p:blipFill>
        <p:spPr>
          <a:xfrm>
            <a:off x="3038858" y="2148232"/>
            <a:ext cx="1689821" cy="1805960"/>
          </a:xfrm>
          <a:prstGeom prst="rect">
            <a:avLst/>
          </a:prstGeom>
          <a:noFill/>
          <a:ln w="0"/>
        </p:spPr>
      </p:pic>
      <p:pic>
        <p:nvPicPr>
          <p:cNvPr id="23" name="Bildplatzhalter 15">
            <a:extLst>
              <a:ext uri="{FF2B5EF4-FFF2-40B4-BE49-F238E27FC236}">
                <a16:creationId xmlns:a16="http://schemas.microsoft.com/office/drawing/2014/main" id="{ED1BEE7F-F673-BBA8-EC07-482253B0A1C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215" r="3215"/>
          <a:stretch/>
        </p:blipFill>
        <p:spPr>
          <a:xfrm>
            <a:off x="5300969" y="2176632"/>
            <a:ext cx="1587195" cy="1696280"/>
          </a:xfrm>
          <a:prstGeom prst="rect">
            <a:avLst/>
          </a:prstGeom>
          <a:noFill/>
          <a:ln w="0"/>
        </p:spPr>
      </p:pic>
      <p:pic>
        <p:nvPicPr>
          <p:cNvPr id="24" name="Bildplatzhalter 17">
            <a:extLst>
              <a:ext uri="{FF2B5EF4-FFF2-40B4-BE49-F238E27FC236}">
                <a16:creationId xmlns:a16="http://schemas.microsoft.com/office/drawing/2014/main" id="{5215B420-D231-2457-EF3B-2EAE8F67DB3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215" r="3215"/>
          <a:stretch/>
        </p:blipFill>
        <p:spPr>
          <a:xfrm>
            <a:off x="7441159" y="2124873"/>
            <a:ext cx="1587195" cy="1696280"/>
          </a:xfrm>
          <a:prstGeom prst="rect">
            <a:avLst/>
          </a:prstGeom>
          <a:noFill/>
          <a:ln w="0"/>
        </p:spPr>
      </p:pic>
      <p:pic>
        <p:nvPicPr>
          <p:cNvPr id="25" name="Bildplatzhalter 17">
            <a:extLst>
              <a:ext uri="{FF2B5EF4-FFF2-40B4-BE49-F238E27FC236}">
                <a16:creationId xmlns:a16="http://schemas.microsoft.com/office/drawing/2014/main" id="{0FFBC2A3-3235-A153-8C7F-8AECA349AF4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215" r="3215"/>
          <a:stretch/>
        </p:blipFill>
        <p:spPr>
          <a:xfrm>
            <a:off x="9628483" y="2176631"/>
            <a:ext cx="1587195" cy="1696280"/>
          </a:xfrm>
          <a:prstGeom prst="rect">
            <a:avLst/>
          </a:prstGeom>
          <a:noFill/>
          <a:ln w="0">
            <a:solidFill>
              <a:schemeClr val="bg1"/>
            </a:solidFill>
          </a:ln>
        </p:spPr>
      </p:pic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A330BE66-5980-43FF-A11B-1F0C50205EC6}"/>
              </a:ext>
            </a:extLst>
          </p:cNvPr>
          <p:cNvSpPr txBox="1">
            <a:spLocks/>
          </p:cNvSpPr>
          <p:nvPr/>
        </p:nvSpPr>
        <p:spPr>
          <a:xfrm>
            <a:off x="9668097" y="3909746"/>
            <a:ext cx="1689821" cy="898964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l" defTabSz="685766" rtl="0" eaLnBrk="1" latinLnBrk="0" hangingPunct="1">
              <a:lnSpc>
                <a:spcPts val="21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500" b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00"/>
              </a:lnSpc>
            </a:pPr>
            <a:r>
              <a:rPr lang="en-GB" sz="1800" b="1">
                <a:solidFill>
                  <a:schemeClr val="tx2"/>
                </a:solidFill>
              </a:rPr>
              <a:t>International collaboration and policy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94BE105-950A-9CD3-3CC7-5E4698DF48BF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D7F229EA-C887-F5D3-F458-D504D5B795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8C2584-C453-93EF-D7E7-02A941A6794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DC3668-C52A-0746-CD5C-52DE89D620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3E7692-7ABE-DDBE-37C5-62225DC55A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Here the section title </a:t>
            </a:r>
            <a:r>
              <a:rPr lang="en-GB" i="1"/>
              <a:t>Author and Occasion in Italics</a:t>
            </a:r>
          </a:p>
        </p:txBody>
      </p:sp>
    </p:spTree>
    <p:extLst>
      <p:ext uri="{BB962C8B-B14F-4D97-AF65-F5344CB8AC3E}">
        <p14:creationId xmlns:p14="http://schemas.microsoft.com/office/powerpoint/2010/main" val="25578043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group of people posing for a photo in front of a building&#10;&#10;Description automatically generated with medium confidence">
            <a:extLst>
              <a:ext uri="{FF2B5EF4-FFF2-40B4-BE49-F238E27FC236}">
                <a16:creationId xmlns:a16="http://schemas.microsoft.com/office/drawing/2014/main" id="{D9240382-B0E3-B6C7-3DEA-4CC80D5088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178AB688-880F-A5D3-D2FC-004F865D94E2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ublic visits to ESO observatorie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AA5A003D-98A4-E2B7-1B7E-3775CE96C9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2C7B24-6FC9-51AB-4910-160BCFD5B9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AC7EFF-BB33-D9C0-9DF3-C128BBFF47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13676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person giving a presentation&#10;&#10;Description automatically generated with low confidence">
            <a:extLst>
              <a:ext uri="{FF2B5EF4-FFF2-40B4-BE49-F238E27FC236}">
                <a16:creationId xmlns:a16="http://schemas.microsoft.com/office/drawing/2014/main" id="{23AC6FE6-1CA8-1EDD-C01B-04BB1ABC050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3550E3E-4F38-20B6-244F-1878811DC9C3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37707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chemeClr val="bg2"/>
                </a:solidFill>
                <a:ea typeface="+mn-lt"/>
                <a:cs typeface="+mn-lt"/>
              </a:rPr>
              <a:t>Reaching out</a:t>
            </a:r>
          </a:p>
          <a:p>
            <a:endParaRPr lang="en-GB" dirty="0">
              <a:cs typeface="Arial"/>
            </a:endParaRPr>
          </a:p>
          <a:p>
            <a:pPr marL="285750" indent="-285750">
              <a:lnSpc>
                <a:spcPts val="2400"/>
              </a:lnSpc>
              <a:buClr>
                <a:srgbClr val="117DC5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ESO News in 12 languages</a:t>
            </a:r>
          </a:p>
          <a:p>
            <a:pPr marL="285750" indent="-285750">
              <a:lnSpc>
                <a:spcPts val="2400"/>
              </a:lnSpc>
              <a:buClr>
                <a:srgbClr val="117DC5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Public astronomical outreach images and video archives</a:t>
            </a:r>
          </a:p>
          <a:p>
            <a:pPr marL="285750" indent="-285750">
              <a:lnSpc>
                <a:spcPts val="2400"/>
              </a:lnSpc>
              <a:buClr>
                <a:srgbClr val="117DC5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ESO Science Outreach Network</a:t>
            </a:r>
          </a:p>
          <a:p>
            <a:pPr marL="285750" indent="-285750">
              <a:lnSpc>
                <a:spcPts val="2400"/>
              </a:lnSpc>
              <a:buClr>
                <a:srgbClr val="117DC5"/>
              </a:buClr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Events and Exhibitions</a:t>
            </a:r>
          </a:p>
          <a:p>
            <a:pPr marL="285750" indent="-285750">
              <a:lnSpc>
                <a:spcPts val="2400"/>
              </a:lnSpc>
              <a:buClr>
                <a:srgbClr val="117DC5"/>
              </a:buClr>
              <a:buFont typeface="Arial" panose="020B0604020202020204" pitchFamily="34" charset="0"/>
              <a:buChar char="•"/>
            </a:pPr>
            <a:r>
              <a:rPr lang="en-US" i="1" dirty="0">
                <a:ea typeface="+mn-lt"/>
                <a:cs typeface="+mn-lt"/>
              </a:rPr>
              <a:t>The Messenger – </a:t>
            </a:r>
            <a:r>
              <a:rPr lang="en-US" dirty="0">
                <a:ea typeface="+mn-lt"/>
                <a:cs typeface="+mn-lt"/>
              </a:rPr>
              <a:t>ESO’s science and technology journa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19FF5F4-CF64-31A0-BD83-DBCB72A467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131186A-D832-9B0B-0561-651ACC803328}"/>
              </a:ext>
            </a:extLst>
          </p:cNvPr>
          <p:cNvSpPr txBox="1"/>
          <p:nvPr/>
        </p:nvSpPr>
        <p:spPr>
          <a:xfrm rot="-5400000">
            <a:off x="-2910405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Zamani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5088F9-5EAB-5C37-8E82-9F5443575F8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B478B-6666-CCFE-C0E8-97CC8B5AC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77332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07F08D7-7A73-2383-91EA-99AB3C0267A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ducation and outreach impact</a:t>
            </a:r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E8A6C60F-560E-4D88-364C-1AE45660492F}"/>
              </a:ext>
            </a:extLst>
          </p:cNvPr>
          <p:cNvSpPr txBox="1">
            <a:spLocks/>
          </p:cNvSpPr>
          <p:nvPr/>
        </p:nvSpPr>
        <p:spPr>
          <a:xfrm>
            <a:off x="1317813" y="2151723"/>
            <a:ext cx="2577425" cy="419987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2800"/>
              </a:lnSpc>
            </a:pPr>
            <a:r>
              <a:rPr lang="en-GB"/>
              <a:t>online per day</a:t>
            </a: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91EDF13A-582C-7C13-6553-87CF25298B35}"/>
              </a:ext>
            </a:extLst>
          </p:cNvPr>
          <p:cNvSpPr txBox="1">
            <a:spLocks/>
          </p:cNvSpPr>
          <p:nvPr/>
        </p:nvSpPr>
        <p:spPr>
          <a:xfrm>
            <a:off x="936010" y="3698239"/>
            <a:ext cx="2641111" cy="591124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/>
              <a:t>per year to ESO observatories</a:t>
            </a:r>
          </a:p>
        </p:txBody>
      </p: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662E6ACB-9BE1-662B-3BE7-6034ED59FF42}"/>
              </a:ext>
            </a:extLst>
          </p:cNvPr>
          <p:cNvSpPr txBox="1">
            <a:spLocks/>
          </p:cNvSpPr>
          <p:nvPr/>
        </p:nvSpPr>
        <p:spPr>
          <a:xfrm>
            <a:off x="7580154" y="2244056"/>
            <a:ext cx="3128095" cy="327654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 sz="1800" b="0"/>
              <a:t>followers on social media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EA7A8BD6-DF4C-DB07-1994-8B4A16BFB8CF}"/>
              </a:ext>
            </a:extLst>
          </p:cNvPr>
          <p:cNvSpPr txBox="1">
            <a:spLocks/>
          </p:cNvSpPr>
          <p:nvPr/>
        </p:nvSpPr>
        <p:spPr>
          <a:xfrm>
            <a:off x="8611395" y="3887895"/>
            <a:ext cx="2617005" cy="898900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 dirty="0"/>
              <a:t>per year to ESO Supernova Planetarium &amp; Visitor Centre 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7666FBCB-F254-20B8-04FC-312CAE0B530A}"/>
              </a:ext>
            </a:extLst>
          </p:cNvPr>
          <p:cNvSpPr txBox="1">
            <a:spLocks/>
          </p:cNvSpPr>
          <p:nvPr/>
        </p:nvSpPr>
        <p:spPr>
          <a:xfrm>
            <a:off x="7573381" y="1792363"/>
            <a:ext cx="3128095" cy="359073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/>
              <a:t>Half a million</a:t>
            </a:r>
          </a:p>
        </p:txBody>
      </p:sp>
      <p:sp>
        <p:nvSpPr>
          <p:cNvPr id="20" name="Textplatzhalter 1">
            <a:extLst>
              <a:ext uri="{FF2B5EF4-FFF2-40B4-BE49-F238E27FC236}">
                <a16:creationId xmlns:a16="http://schemas.microsoft.com/office/drawing/2014/main" id="{785DA827-FEBC-7767-8404-8678FC2FA9B5}"/>
              </a:ext>
            </a:extLst>
          </p:cNvPr>
          <p:cNvSpPr txBox="1">
            <a:spLocks/>
          </p:cNvSpPr>
          <p:nvPr/>
        </p:nvSpPr>
        <p:spPr>
          <a:xfrm>
            <a:off x="8589381" y="3438778"/>
            <a:ext cx="3128095" cy="359073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 dirty="0"/>
              <a:t>70 000 visitors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ED98B790-DCDB-078C-9726-B9CF03A4FC58}"/>
              </a:ext>
            </a:extLst>
          </p:cNvPr>
          <p:cNvSpPr txBox="1">
            <a:spLocks/>
          </p:cNvSpPr>
          <p:nvPr/>
        </p:nvSpPr>
        <p:spPr>
          <a:xfrm>
            <a:off x="936010" y="3249124"/>
            <a:ext cx="3128095" cy="359073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/>
              <a:t>8000 visitors</a:t>
            </a:r>
          </a:p>
        </p:txBody>
      </p: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218331D3-A63C-7267-275A-A0C6DBE2A2C2}"/>
              </a:ext>
            </a:extLst>
          </p:cNvPr>
          <p:cNvSpPr txBox="1">
            <a:spLocks/>
          </p:cNvSpPr>
          <p:nvPr/>
        </p:nvSpPr>
        <p:spPr>
          <a:xfrm>
            <a:off x="1403370" y="1785590"/>
            <a:ext cx="3128095" cy="359073"/>
          </a:xfrm>
          <a:prstGeom prst="rect">
            <a:avLst/>
          </a:prstGeom>
          <a:noFill/>
          <a:effectLst/>
        </p:spPr>
        <p:txBody>
          <a:bodyPr wrap="square"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800"/>
              </a:lnSpc>
            </a:pPr>
            <a:r>
              <a:rPr lang="en-GB" dirty="0"/>
              <a:t>71 press articles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BC322A8E-612B-9D0E-7641-995BA5B2B100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fik 27">
            <a:extLst>
              <a:ext uri="{FF2B5EF4-FFF2-40B4-BE49-F238E27FC236}">
                <a16:creationId xmlns:a16="http://schemas.microsoft.com/office/drawing/2014/main" id="{8647827B-E123-F09F-C935-32160CBFD2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132A1A-7396-6BD8-4D6A-B314843154D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41EB94-236A-3DAD-34E3-6252AC4AAD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F0994DA-8948-BDA8-0F34-7FA36F5A63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40591647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BB92A15-186B-5BD9-D263-3B6475D049DE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International collaboration and policy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AA970F0-2BB3-4627-54F4-9803814A0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A8E310B-569D-B521-35CA-1E9C7B41839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DC8577-F14D-DC22-3663-0E0046A065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5363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A picture containing sky, outdoor, way, road&#10;&#10;Description automatically generated">
            <a:extLst>
              <a:ext uri="{FF2B5EF4-FFF2-40B4-BE49-F238E27FC236}">
                <a16:creationId xmlns:a16="http://schemas.microsoft.com/office/drawing/2014/main" id="{F37A07D8-4664-AA71-6FC4-A7562510B0E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9B9FABA-5572-7604-938A-2C633B7A7632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SO: collaborations for pea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C05EB5-C1CC-8F08-D99C-973CF4E54FA6}"/>
              </a:ext>
            </a:extLst>
          </p:cNvPr>
          <p:cNvSpPr txBox="1">
            <a:spLocks/>
          </p:cNvSpPr>
          <p:nvPr/>
        </p:nvSpPr>
        <p:spPr>
          <a:xfrm>
            <a:off x="936624" y="5088647"/>
            <a:ext cx="10317600" cy="83272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SO represents a model for </a:t>
            </a:r>
            <a:r>
              <a:rPr lang="en-GB" b="1" dirty="0"/>
              <a:t>peaceful scientific cooperation</a:t>
            </a:r>
            <a:r>
              <a:rPr lang="en-GB" dirty="0"/>
              <a:t> between nations as one of the first intergovernmental scientific organisations</a:t>
            </a:r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4DB1CA5-6135-D5AE-9E34-315C0B9A78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8CE4383-1FDB-977E-77A1-22E5A55760F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hizzi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Panizza/ES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44DED8B-2428-A863-9EE1-42C27EC02E6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DC5A6A-5678-DE97-E69E-E7BA10C73C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44725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C9318C2-65E9-FE1C-6CE9-F4B4464A655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SO’s policy contributions</a:t>
            </a:r>
          </a:p>
        </p:txBody>
      </p:sp>
      <p:sp>
        <p:nvSpPr>
          <p:cNvPr id="35" name="Oval 6">
            <a:extLst>
              <a:ext uri="{FF2B5EF4-FFF2-40B4-BE49-F238E27FC236}">
                <a16:creationId xmlns:a16="http://schemas.microsoft.com/office/drawing/2014/main" id="{C0EBA4BF-AC71-6FC6-59A8-9B4EC8B7F048}"/>
              </a:ext>
            </a:extLst>
          </p:cNvPr>
          <p:cNvSpPr/>
          <p:nvPr/>
        </p:nvSpPr>
        <p:spPr>
          <a:xfrm>
            <a:off x="1257967" y="3760282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Oval 7">
            <a:extLst>
              <a:ext uri="{FF2B5EF4-FFF2-40B4-BE49-F238E27FC236}">
                <a16:creationId xmlns:a16="http://schemas.microsoft.com/office/drawing/2014/main" id="{AE5D980A-3B7C-120A-FBFD-0ADB2D459B8C}"/>
              </a:ext>
            </a:extLst>
          </p:cNvPr>
          <p:cNvSpPr/>
          <p:nvPr/>
        </p:nvSpPr>
        <p:spPr>
          <a:xfrm>
            <a:off x="2742876" y="3760282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Oval 8">
            <a:extLst>
              <a:ext uri="{FF2B5EF4-FFF2-40B4-BE49-F238E27FC236}">
                <a16:creationId xmlns:a16="http://schemas.microsoft.com/office/drawing/2014/main" id="{B1F6DE9E-0771-B8FB-05AF-5FDA46F547E3}"/>
              </a:ext>
            </a:extLst>
          </p:cNvPr>
          <p:cNvSpPr/>
          <p:nvPr/>
        </p:nvSpPr>
        <p:spPr>
          <a:xfrm>
            <a:off x="4227785" y="3766621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Oval 9">
            <a:extLst>
              <a:ext uri="{FF2B5EF4-FFF2-40B4-BE49-F238E27FC236}">
                <a16:creationId xmlns:a16="http://schemas.microsoft.com/office/drawing/2014/main" id="{B845E3E3-9FCF-2CBF-E830-D0B435A5E22E}"/>
              </a:ext>
            </a:extLst>
          </p:cNvPr>
          <p:cNvSpPr/>
          <p:nvPr/>
        </p:nvSpPr>
        <p:spPr>
          <a:xfrm>
            <a:off x="5712693" y="3766621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Oval 10">
            <a:extLst>
              <a:ext uri="{FF2B5EF4-FFF2-40B4-BE49-F238E27FC236}">
                <a16:creationId xmlns:a16="http://schemas.microsoft.com/office/drawing/2014/main" id="{137CEC00-13B0-1A43-E5A3-8490C9A7612C}"/>
              </a:ext>
            </a:extLst>
          </p:cNvPr>
          <p:cNvSpPr/>
          <p:nvPr/>
        </p:nvSpPr>
        <p:spPr>
          <a:xfrm>
            <a:off x="7197603" y="3766621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11">
            <a:extLst>
              <a:ext uri="{FF2B5EF4-FFF2-40B4-BE49-F238E27FC236}">
                <a16:creationId xmlns:a16="http://schemas.microsoft.com/office/drawing/2014/main" id="{9C1EDE9E-2906-00E8-B438-F18B4BA024DD}"/>
              </a:ext>
            </a:extLst>
          </p:cNvPr>
          <p:cNvSpPr/>
          <p:nvPr/>
        </p:nvSpPr>
        <p:spPr>
          <a:xfrm>
            <a:off x="10167420" y="3766621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1" name="Straight Connector 12">
            <a:extLst>
              <a:ext uri="{FF2B5EF4-FFF2-40B4-BE49-F238E27FC236}">
                <a16:creationId xmlns:a16="http://schemas.microsoft.com/office/drawing/2014/main" id="{000117D8-0487-A107-AEFE-4CCC9CB63877}"/>
              </a:ext>
            </a:extLst>
          </p:cNvPr>
          <p:cNvCxnSpPr>
            <a:cxnSpLocks/>
          </p:cNvCxnSpPr>
          <p:nvPr/>
        </p:nvCxnSpPr>
        <p:spPr>
          <a:xfrm>
            <a:off x="1748075" y="3142073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13">
            <a:extLst>
              <a:ext uri="{FF2B5EF4-FFF2-40B4-BE49-F238E27FC236}">
                <a16:creationId xmlns:a16="http://schemas.microsoft.com/office/drawing/2014/main" id="{8BEF32EF-9C20-4E41-E63E-77B3C314D4FC}"/>
              </a:ext>
            </a:extLst>
          </p:cNvPr>
          <p:cNvSpPr/>
          <p:nvPr/>
        </p:nvSpPr>
        <p:spPr>
          <a:xfrm>
            <a:off x="746471" y="2045305"/>
            <a:ext cx="2032212" cy="991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n data and standards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astronomy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4">
            <a:extLst>
              <a:ext uri="{FF2B5EF4-FFF2-40B4-BE49-F238E27FC236}">
                <a16:creationId xmlns:a16="http://schemas.microsoft.com/office/drawing/2014/main" id="{B7455A09-979C-7BC8-32AD-B345AC24E9A0}"/>
              </a:ext>
            </a:extLst>
          </p:cNvPr>
          <p:cNvSpPr/>
          <p:nvPr/>
        </p:nvSpPr>
        <p:spPr>
          <a:xfrm>
            <a:off x="2058462" y="5361880"/>
            <a:ext cx="2326278" cy="683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hical review </a:t>
            </a:r>
          </a:p>
          <a:p>
            <a:pPr marL="0" marR="0" lvl="0" indent="0" algn="ctr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esses in science</a:t>
            </a:r>
          </a:p>
        </p:txBody>
      </p:sp>
      <p:cxnSp>
        <p:nvCxnSpPr>
          <p:cNvPr id="44" name="Straight Connector 15">
            <a:extLst>
              <a:ext uri="{FF2B5EF4-FFF2-40B4-BE49-F238E27FC236}">
                <a16:creationId xmlns:a16="http://schemas.microsoft.com/office/drawing/2014/main" id="{4070213F-7753-05C6-482D-24B2484A8A29}"/>
              </a:ext>
            </a:extLst>
          </p:cNvPr>
          <p:cNvCxnSpPr>
            <a:cxnSpLocks/>
          </p:cNvCxnSpPr>
          <p:nvPr/>
        </p:nvCxnSpPr>
        <p:spPr>
          <a:xfrm>
            <a:off x="4713551" y="3142073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6">
            <a:extLst>
              <a:ext uri="{FF2B5EF4-FFF2-40B4-BE49-F238E27FC236}">
                <a16:creationId xmlns:a16="http://schemas.microsoft.com/office/drawing/2014/main" id="{C5FBCF17-49EB-56F1-84B0-BDC17DE3E897}"/>
              </a:ext>
            </a:extLst>
          </p:cNvPr>
          <p:cNvCxnSpPr>
            <a:cxnSpLocks/>
          </p:cNvCxnSpPr>
          <p:nvPr/>
        </p:nvCxnSpPr>
        <p:spPr>
          <a:xfrm>
            <a:off x="7672825" y="3142073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7">
            <a:extLst>
              <a:ext uri="{FF2B5EF4-FFF2-40B4-BE49-F238E27FC236}">
                <a16:creationId xmlns:a16="http://schemas.microsoft.com/office/drawing/2014/main" id="{9619E710-C54C-0A5A-CAAB-39F93B2974EE}"/>
              </a:ext>
            </a:extLst>
          </p:cNvPr>
          <p:cNvCxnSpPr>
            <a:cxnSpLocks/>
          </p:cNvCxnSpPr>
          <p:nvPr/>
        </p:nvCxnSpPr>
        <p:spPr>
          <a:xfrm>
            <a:off x="10638301" y="3142073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8">
            <a:extLst>
              <a:ext uri="{FF2B5EF4-FFF2-40B4-BE49-F238E27FC236}">
                <a16:creationId xmlns:a16="http://schemas.microsoft.com/office/drawing/2014/main" id="{F8D7C8D5-08E3-1D11-B3B3-B83737A14032}"/>
              </a:ext>
            </a:extLst>
          </p:cNvPr>
          <p:cNvCxnSpPr>
            <a:cxnSpLocks/>
          </p:cNvCxnSpPr>
          <p:nvPr/>
        </p:nvCxnSpPr>
        <p:spPr>
          <a:xfrm>
            <a:off x="3224610" y="4724075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9">
            <a:extLst>
              <a:ext uri="{FF2B5EF4-FFF2-40B4-BE49-F238E27FC236}">
                <a16:creationId xmlns:a16="http://schemas.microsoft.com/office/drawing/2014/main" id="{5F6ED893-72CE-CFDC-56B3-30B30C7F47B8}"/>
              </a:ext>
            </a:extLst>
          </p:cNvPr>
          <p:cNvCxnSpPr>
            <a:cxnSpLocks/>
          </p:cNvCxnSpPr>
          <p:nvPr/>
        </p:nvCxnSpPr>
        <p:spPr>
          <a:xfrm>
            <a:off x="6198158" y="4724075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0">
            <a:extLst>
              <a:ext uri="{FF2B5EF4-FFF2-40B4-BE49-F238E27FC236}">
                <a16:creationId xmlns:a16="http://schemas.microsoft.com/office/drawing/2014/main" id="{15B21C63-82AC-D75C-6A06-78042BC7A205}"/>
              </a:ext>
            </a:extLst>
          </p:cNvPr>
          <p:cNvCxnSpPr>
            <a:cxnSpLocks/>
          </p:cNvCxnSpPr>
          <p:nvPr/>
        </p:nvCxnSpPr>
        <p:spPr>
          <a:xfrm>
            <a:off x="9169839" y="4724075"/>
            <a:ext cx="0" cy="61820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21">
            <a:extLst>
              <a:ext uri="{FF2B5EF4-FFF2-40B4-BE49-F238E27FC236}">
                <a16:creationId xmlns:a16="http://schemas.microsoft.com/office/drawing/2014/main" id="{ABB60314-6C81-C65B-781B-270DC641BB3F}"/>
              </a:ext>
            </a:extLst>
          </p:cNvPr>
          <p:cNvSpPr/>
          <p:nvPr/>
        </p:nvSpPr>
        <p:spPr>
          <a:xfrm>
            <a:off x="3095335" y="2045305"/>
            <a:ext cx="3276103" cy="991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ted Nations Committee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the Peaceful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s of Outer Space 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22">
            <a:extLst>
              <a:ext uri="{FF2B5EF4-FFF2-40B4-BE49-F238E27FC236}">
                <a16:creationId xmlns:a16="http://schemas.microsoft.com/office/drawing/2014/main" id="{545DB46C-81EC-F068-96E4-99006F51BB72}"/>
              </a:ext>
            </a:extLst>
          </p:cNvPr>
          <p:cNvSpPr/>
          <p:nvPr/>
        </p:nvSpPr>
        <p:spPr>
          <a:xfrm>
            <a:off x="5073165" y="5368368"/>
            <a:ext cx="2236510" cy="683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of satellite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ga-constellation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23">
            <a:extLst>
              <a:ext uri="{FF2B5EF4-FFF2-40B4-BE49-F238E27FC236}">
                <a16:creationId xmlns:a16="http://schemas.microsoft.com/office/drawing/2014/main" id="{E957EEC9-7F34-10C3-BD5E-0D20FA38F064}"/>
              </a:ext>
            </a:extLst>
          </p:cNvPr>
          <p:cNvSpPr/>
          <p:nvPr/>
        </p:nvSpPr>
        <p:spPr>
          <a:xfrm>
            <a:off x="6863022" y="2353081"/>
            <a:ext cx="1620957" cy="683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guarding </a:t>
            </a:r>
          </a:p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dark sky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24">
            <a:extLst>
              <a:ext uri="{FF2B5EF4-FFF2-40B4-BE49-F238E27FC236}">
                <a16:creationId xmlns:a16="http://schemas.microsoft.com/office/drawing/2014/main" id="{ADAD5654-917E-BB51-AFDA-D02CAA348107}"/>
              </a:ext>
            </a:extLst>
          </p:cNvPr>
          <p:cNvSpPr/>
          <p:nvPr/>
        </p:nvSpPr>
        <p:spPr>
          <a:xfrm>
            <a:off x="8250356" y="5361165"/>
            <a:ext cx="1838965" cy="683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cting Earth</a:t>
            </a:r>
          </a:p>
          <a:p>
            <a:pPr marL="0" marR="0" lvl="0" indent="0" algn="ctr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asteroids</a:t>
            </a:r>
          </a:p>
        </p:txBody>
      </p:sp>
      <p:sp>
        <p:nvSpPr>
          <p:cNvPr id="54" name="Rectangle 25">
            <a:extLst>
              <a:ext uri="{FF2B5EF4-FFF2-40B4-BE49-F238E27FC236}">
                <a16:creationId xmlns:a16="http://schemas.microsoft.com/office/drawing/2014/main" id="{9E849C8F-8691-FF3E-DF5C-08682F45BAB0}"/>
              </a:ext>
            </a:extLst>
          </p:cNvPr>
          <p:cNvSpPr/>
          <p:nvPr/>
        </p:nvSpPr>
        <p:spPr>
          <a:xfrm>
            <a:off x="9963107" y="2660858"/>
            <a:ext cx="1415772" cy="3756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ROForum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5" name="Picture 26">
            <a:extLst>
              <a:ext uri="{FF2B5EF4-FFF2-40B4-BE49-F238E27FC236}">
                <a16:creationId xmlns:a16="http://schemas.microsoft.com/office/drawing/2014/main" id="{C4836274-0A1A-4785-D683-0ECFEFE2CF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4450" y="3888562"/>
            <a:ext cx="606565" cy="701164"/>
          </a:xfrm>
          <a:prstGeom prst="rect">
            <a:avLst/>
          </a:prstGeom>
        </p:spPr>
      </p:pic>
      <p:sp>
        <p:nvSpPr>
          <p:cNvPr id="56" name="Oval 27">
            <a:extLst>
              <a:ext uri="{FF2B5EF4-FFF2-40B4-BE49-F238E27FC236}">
                <a16:creationId xmlns:a16="http://schemas.microsoft.com/office/drawing/2014/main" id="{195BE581-80C1-6186-0CC9-727C576E210A}"/>
              </a:ext>
            </a:extLst>
          </p:cNvPr>
          <p:cNvSpPr/>
          <p:nvPr/>
        </p:nvSpPr>
        <p:spPr>
          <a:xfrm>
            <a:off x="8679440" y="3766621"/>
            <a:ext cx="957455" cy="957455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77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7" name="Picture 28">
            <a:extLst>
              <a:ext uri="{FF2B5EF4-FFF2-40B4-BE49-F238E27FC236}">
                <a16:creationId xmlns:a16="http://schemas.microsoft.com/office/drawing/2014/main" id="{4798609C-D5F5-21FC-29BB-7F5A132526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0745" y="3938635"/>
            <a:ext cx="544723" cy="624160"/>
          </a:xfrm>
          <a:prstGeom prst="rect">
            <a:avLst/>
          </a:prstGeom>
        </p:spPr>
      </p:pic>
      <p:pic>
        <p:nvPicPr>
          <p:cNvPr id="58" name="Picture 29">
            <a:extLst>
              <a:ext uri="{FF2B5EF4-FFF2-40B4-BE49-F238E27FC236}">
                <a16:creationId xmlns:a16="http://schemas.microsoft.com/office/drawing/2014/main" id="{005FDD74-A90A-091D-611A-6DFA870ACB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2037" y="3949493"/>
            <a:ext cx="386023" cy="579033"/>
          </a:xfrm>
          <a:prstGeom prst="rect">
            <a:avLst/>
          </a:prstGeom>
        </p:spPr>
      </p:pic>
      <p:pic>
        <p:nvPicPr>
          <p:cNvPr id="59" name="Picture 30">
            <a:extLst>
              <a:ext uri="{FF2B5EF4-FFF2-40B4-BE49-F238E27FC236}">
                <a16:creationId xmlns:a16="http://schemas.microsoft.com/office/drawing/2014/main" id="{6968C920-5D6A-FE4F-7EC1-B7FBD90EA9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07177" y="3964252"/>
            <a:ext cx="664309" cy="498232"/>
          </a:xfrm>
          <a:prstGeom prst="rect">
            <a:avLst/>
          </a:prstGeom>
        </p:spPr>
      </p:pic>
      <p:pic>
        <p:nvPicPr>
          <p:cNvPr id="60" name="Picture 31">
            <a:extLst>
              <a:ext uri="{FF2B5EF4-FFF2-40B4-BE49-F238E27FC236}">
                <a16:creationId xmlns:a16="http://schemas.microsoft.com/office/drawing/2014/main" id="{E2C813C7-B5CE-D063-3CC8-F8FDC7B997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46778" y="3891084"/>
            <a:ext cx="675539" cy="687601"/>
          </a:xfrm>
          <a:prstGeom prst="rect">
            <a:avLst/>
          </a:prstGeom>
        </p:spPr>
      </p:pic>
      <p:pic>
        <p:nvPicPr>
          <p:cNvPr id="61" name="Picture 32">
            <a:extLst>
              <a:ext uri="{FF2B5EF4-FFF2-40B4-BE49-F238E27FC236}">
                <a16:creationId xmlns:a16="http://schemas.microsoft.com/office/drawing/2014/main" id="{92C146A9-FE3B-0173-6562-9FC83C7195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8835" y="3918467"/>
            <a:ext cx="522091" cy="671259"/>
          </a:xfrm>
          <a:prstGeom prst="rect">
            <a:avLst/>
          </a:prstGeom>
        </p:spPr>
      </p:pic>
      <p:pic>
        <p:nvPicPr>
          <p:cNvPr id="62" name="Picture 33">
            <a:extLst>
              <a:ext uri="{FF2B5EF4-FFF2-40B4-BE49-F238E27FC236}">
                <a16:creationId xmlns:a16="http://schemas.microsoft.com/office/drawing/2014/main" id="{A54D7ADA-0EBD-0C74-B5D1-2CD78B620A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51775" y="4018462"/>
            <a:ext cx="592353" cy="468149"/>
          </a:xfrm>
          <a:prstGeom prst="rect">
            <a:avLst/>
          </a:prstGeom>
        </p:spPr>
      </p:pic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A4DE8979-4086-3635-95EA-08D2071412C2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Grafik 67">
            <a:extLst>
              <a:ext uri="{FF2B5EF4-FFF2-40B4-BE49-F238E27FC236}">
                <a16:creationId xmlns:a16="http://schemas.microsoft.com/office/drawing/2014/main" id="{46AFF0CA-C0C9-0138-CC50-D62F5561CF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542EC7-B5F4-C9B9-856B-7CAE9F6067A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431513-8AF5-E94A-4196-B51BB4F372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0A9B01E-DE8A-DF6C-3651-97A8D77FE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508072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5451112E-0435-28D2-EA52-A77783EEF337}"/>
              </a:ext>
            </a:extLst>
          </p:cNvPr>
          <p:cNvSpPr txBox="1">
            <a:spLocks/>
          </p:cNvSpPr>
          <p:nvPr/>
        </p:nvSpPr>
        <p:spPr>
          <a:xfrm>
            <a:off x="936624" y="-10522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+mn-lt"/>
                <a:ea typeface="+mn-lt"/>
                <a:cs typeface="+mn-lt"/>
              </a:rPr>
              <a:t>Protecting the dark and quiet sky</a:t>
            </a:r>
            <a:endParaRPr lang="en-US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30BBD11-6801-E2B3-5E29-79D5937F7C50}"/>
              </a:ext>
            </a:extLst>
          </p:cNvPr>
          <p:cNvSpPr txBox="1">
            <a:spLocks/>
          </p:cNvSpPr>
          <p:nvPr/>
        </p:nvSpPr>
        <p:spPr>
          <a:xfrm>
            <a:off x="936624" y="1567453"/>
            <a:ext cx="10317600" cy="3017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Study the effects of new satellite constellations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Petition for the protection of our dark and radio-quiet sky at the UN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Contribute to the IAU Centre for the Protection of the Dark and Quiet Sky from Satellite Constellation Interference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Fund regional and national initiatives in Chile on increasing light pollution awareness</a:t>
            </a:r>
          </a:p>
        </p:txBody>
      </p:sp>
      <p:pic>
        <p:nvPicPr>
          <p:cNvPr id="5" name="Picture Placeholder 3" descr="A picture containing text&#10;&#10;Description automatically generated">
            <a:extLst>
              <a:ext uri="{FF2B5EF4-FFF2-40B4-BE49-F238E27FC236}">
                <a16:creationId xmlns:a16="http://schemas.microsoft.com/office/drawing/2014/main" id="{8DBDC32E-2990-C5F8-6B7C-0497693CBC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10" name="Picture Placeholder 14" descr="A picture containing outdoor object, night, dark&#10;&#10;Description automatically generated">
            <a:extLst>
              <a:ext uri="{FF2B5EF4-FFF2-40B4-BE49-F238E27FC236}">
                <a16:creationId xmlns:a16="http://schemas.microsoft.com/office/drawing/2014/main" id="{6D9EFC75-5FE8-9B3D-4229-BD2F2AEA59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4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11" name="Picture Placeholder 16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5347458C-B85F-29CF-F7A9-38C387A2F2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348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5562BB1-D10A-9F0A-022F-9DEE2DC890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0C7BA8B-77CB-975E-C978-B2B8BD7477D7}"/>
              </a:ext>
            </a:extLst>
          </p:cNvPr>
          <p:cNvSpPr txBox="1"/>
          <p:nvPr/>
        </p:nvSpPr>
        <p:spPr>
          <a:xfrm rot="-5400000">
            <a:off x="7409812" y="5602987"/>
            <a:ext cx="1603864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, 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alln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D5858E-6E4A-E287-34C5-898F3ECAA76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F0AC6C-6A02-B0B2-1E0E-B23ED20C15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4740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B0E1906-9C60-FD73-DA66-82BF142F632F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ustainability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3B8701E-D691-EE96-BBED-F255C55C2A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242465-5116-CE89-B710-5749BD2E7B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617EEA-75A0-379B-8CAE-B9AA19BA7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7599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561FAA49-FC3D-39D8-6FC3-FB1933357C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516" y="1175556"/>
            <a:ext cx="5013477" cy="4506888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C4A8B61-A1C4-5F77-3344-871AF50396EF}"/>
              </a:ext>
            </a:extLst>
          </p:cNvPr>
          <p:cNvSpPr txBox="1">
            <a:spLocks/>
          </p:cNvSpPr>
          <p:nvPr/>
        </p:nvSpPr>
        <p:spPr>
          <a:xfrm>
            <a:off x="6477000" y="4391578"/>
            <a:ext cx="4902565" cy="129086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171441" indent="-171441" algn="l" defTabSz="6857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ts val="32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For ESO, a sustainable future addresse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environmental, societal and economi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 concern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48427B7E-2851-06F0-72DC-B30C19FAAF6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D1F86314-C43B-275D-0C6E-1CCACD46C7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21A182-7176-9E13-D4D3-2C2D59A6CF0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3515EA-25DC-DC07-BC36-32EDC47AF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8EFFA28-788B-A447-D4D4-4695FB73E9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7174029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59BBC12C-C9F4-457F-A822-C012FF8489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D5E94C0-F6F4-B50B-D1C7-BA65EFF884DC}"/>
              </a:ext>
            </a:extLst>
          </p:cNvPr>
          <p:cNvSpPr txBox="1">
            <a:spLocks/>
          </p:cNvSpPr>
          <p:nvPr/>
        </p:nvSpPr>
        <p:spPr>
          <a:xfrm>
            <a:off x="936625" y="2496698"/>
            <a:ext cx="4583158" cy="3969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NL" b="1">
                <a:solidFill>
                  <a:schemeClr val="tx1"/>
                </a:solidFill>
                <a:effectLst/>
              </a:rPr>
              <a:t>Diversity, </a:t>
            </a:r>
            <a:r>
              <a:rPr lang="en-US" b="1" dirty="0">
                <a:solidFill>
                  <a:schemeClr val="tx1"/>
                </a:solidFill>
                <a:effectLst/>
              </a:rPr>
              <a:t>e</a:t>
            </a:r>
            <a:r>
              <a:rPr lang="en-NL" b="1">
                <a:solidFill>
                  <a:schemeClr val="tx1"/>
                </a:solidFill>
                <a:effectLst/>
              </a:rPr>
              <a:t>quity and </a:t>
            </a:r>
            <a:r>
              <a:rPr lang="en-US" b="1" dirty="0" err="1">
                <a:solidFill>
                  <a:schemeClr val="tx1"/>
                </a:solidFill>
                <a:effectLst/>
              </a:rPr>
              <a:t>i</a:t>
            </a:r>
            <a:r>
              <a:rPr lang="en-NL" b="1">
                <a:solidFill>
                  <a:schemeClr val="tx1"/>
                </a:solidFill>
                <a:effectLst/>
              </a:rPr>
              <a:t>nclusion</a:t>
            </a:r>
            <a:endParaRPr lang="en-NL" b="1" dirty="0">
              <a:solidFill>
                <a:schemeClr val="tx1"/>
              </a:solidFill>
              <a:effectLst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BC692F6-5470-F4CD-7BAE-113AC3AA7A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CC1BB2-74FF-67F6-8FC0-0CAAF2F9422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49A9C3-25F4-8FE9-B3D5-6DA1734642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515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>
            <a:extLst>
              <a:ext uri="{FF2B5EF4-FFF2-40B4-BE49-F238E27FC236}">
                <a16:creationId xmlns:a16="http://schemas.microsoft.com/office/drawing/2014/main" id="{4C8BA8C6-F447-2BBE-B4F0-6FC5A211A975}"/>
              </a:ext>
            </a:extLst>
          </p:cNvPr>
          <p:cNvSpPr txBox="1">
            <a:spLocks/>
          </p:cNvSpPr>
          <p:nvPr/>
        </p:nvSpPr>
        <p:spPr>
          <a:xfrm>
            <a:off x="508794" y="1984786"/>
            <a:ext cx="2694093" cy="991233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r">
              <a:lnSpc>
                <a:spcPts val="2400"/>
              </a:lnSpc>
            </a:pPr>
            <a:r>
              <a:rPr lang="en-GB" dirty="0"/>
              <a:t>Over </a:t>
            </a:r>
            <a:r>
              <a:rPr lang="en-GB" b="1" dirty="0"/>
              <a:t>2500 proposals </a:t>
            </a:r>
            <a:r>
              <a:rPr lang="en-GB" dirty="0"/>
              <a:t>each year for the use of ESO telescopes</a:t>
            </a:r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FB57AEED-6A3C-D621-A993-78938D2E0630}"/>
              </a:ext>
            </a:extLst>
          </p:cNvPr>
          <p:cNvSpPr txBox="1">
            <a:spLocks/>
          </p:cNvSpPr>
          <p:nvPr/>
        </p:nvSpPr>
        <p:spPr>
          <a:xfrm>
            <a:off x="991240" y="4612547"/>
            <a:ext cx="2531687" cy="1206741"/>
          </a:xfrm>
          <a:prstGeom prst="rect">
            <a:avLst/>
          </a:prstGeom>
          <a:noFill/>
          <a:effectLst/>
        </p:spPr>
        <p:txBody>
          <a:bodyPr wrap="square"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2400"/>
              </a:lnSpc>
            </a:pPr>
            <a:r>
              <a:rPr lang="en-GB" sz="1800" b="0"/>
              <a:t>ESO develops </a:t>
            </a:r>
            <a:r>
              <a:rPr lang="en-GB" sz="1800"/>
              <a:t>telescope technologies </a:t>
            </a:r>
            <a:r>
              <a:rPr lang="en-GB" sz="1800" b="0"/>
              <a:t>and </a:t>
            </a:r>
            <a:r>
              <a:rPr lang="en-GB" sz="1800"/>
              <a:t>engineering</a:t>
            </a:r>
            <a:r>
              <a:rPr lang="en-GB" sz="1800" b="0"/>
              <a:t> and </a:t>
            </a:r>
            <a:r>
              <a:rPr lang="en-GB" sz="1800"/>
              <a:t>managerial</a:t>
            </a:r>
            <a:r>
              <a:rPr lang="en-GB" sz="1800" b="0"/>
              <a:t> capacity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5FA5C33B-EC03-AD24-8A10-B9DAC7D9951D}"/>
              </a:ext>
            </a:extLst>
          </p:cNvPr>
          <p:cNvSpPr txBox="1">
            <a:spLocks/>
          </p:cNvSpPr>
          <p:nvPr/>
        </p:nvSpPr>
        <p:spPr>
          <a:xfrm>
            <a:off x="8022114" y="1410323"/>
            <a:ext cx="3175000" cy="898900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/>
              <a:t>Nobel Prizes in Physics </a:t>
            </a:r>
            <a:r>
              <a:rPr lang="en-GB" sz="1800" b="0"/>
              <a:t>in 2011 and 2020 for research with ESO telescopes</a:t>
            </a: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9A2249BD-1513-CA55-73BC-5CACC8F39545}"/>
              </a:ext>
            </a:extLst>
          </p:cNvPr>
          <p:cNvSpPr txBox="1">
            <a:spLocks/>
          </p:cNvSpPr>
          <p:nvPr/>
        </p:nvSpPr>
        <p:spPr>
          <a:xfrm>
            <a:off x="8826448" y="3262798"/>
            <a:ext cx="2810933" cy="898964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b="0" dirty="0"/>
              <a:t>ESO enables </a:t>
            </a:r>
            <a:br>
              <a:rPr lang="en-GB" sz="1800" b="0" dirty="0"/>
            </a:br>
            <a:r>
              <a:rPr lang="en-GB" sz="1800" dirty="0"/>
              <a:t>over 1000 referred publications </a:t>
            </a:r>
            <a:r>
              <a:rPr lang="en-GB" sz="1800" b="0" dirty="0"/>
              <a:t>each year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98253E2E-71F2-5D95-45FC-E506769A4B98}"/>
              </a:ext>
            </a:extLst>
          </p:cNvPr>
          <p:cNvSpPr txBox="1">
            <a:spLocks/>
          </p:cNvSpPr>
          <p:nvPr/>
        </p:nvSpPr>
        <p:spPr>
          <a:xfrm>
            <a:off x="7715621" y="4946003"/>
            <a:ext cx="3698240" cy="898900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800" dirty="0"/>
              <a:t>8000 astronomers </a:t>
            </a:r>
            <a:r>
              <a:rPr lang="en-GB" sz="1800" b="0" dirty="0"/>
              <a:t>downloaded </a:t>
            </a:r>
            <a:br>
              <a:rPr lang="en-GB" sz="1800" b="0" dirty="0"/>
            </a:br>
            <a:r>
              <a:rPr lang="en-GB" sz="1800" dirty="0"/>
              <a:t>1600 terabytes </a:t>
            </a:r>
            <a:r>
              <a:rPr lang="en-GB" sz="1800" b="0" dirty="0"/>
              <a:t>of data from the ESO science arch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45613AB-2A2A-5ACE-B1E6-C57D3BD7C52C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cience and engineering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F40578CA-86B4-06AA-17F4-D48F35693C59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834D268E-F3D5-0F6A-1E60-3DE6F78E89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525AA1-C69D-DE36-78EC-323C2D53C5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F22DE2F-2265-3C4B-7BC6-9C8318FA93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83FDA7D-1927-C99F-CDA6-86F589BE2A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7165043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BBEA2F-F6A9-CDA3-B1EA-2F15A88B0FD0}"/>
              </a:ext>
            </a:extLst>
          </p:cNvPr>
          <p:cNvSpPr txBox="1">
            <a:spLocks/>
          </p:cNvSpPr>
          <p:nvPr/>
        </p:nvSpPr>
        <p:spPr>
          <a:xfrm>
            <a:off x="936624" y="-10522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+mn-lt"/>
                <a:ea typeface="+mn-lt"/>
                <a:cs typeface="+mn-lt"/>
              </a:rPr>
              <a:t>Increase diversity, equity and inclusion</a:t>
            </a:r>
            <a:endParaRPr lang="en-US" dirty="0"/>
          </a:p>
        </p:txBody>
      </p:sp>
      <p:pic>
        <p:nvPicPr>
          <p:cNvPr id="4" name="Picture Placeholder 9">
            <a:extLst>
              <a:ext uri="{FF2B5EF4-FFF2-40B4-BE49-F238E27FC236}">
                <a16:creationId xmlns:a16="http://schemas.microsoft.com/office/drawing/2014/main" id="{8468C34A-297B-4ABF-393A-567A5A9D7F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48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8F9F2D0-4C62-23D1-86B7-98D8C2346FE1}"/>
              </a:ext>
            </a:extLst>
          </p:cNvPr>
          <p:cNvSpPr txBox="1">
            <a:spLocks/>
          </p:cNvSpPr>
          <p:nvPr/>
        </p:nvSpPr>
        <p:spPr>
          <a:xfrm>
            <a:off x="936624" y="1567453"/>
            <a:ext cx="10006196" cy="3017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Increase the percentage of women in technical, engineering, and decision-making positions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Scale-up efforts to support other diversity dimensions (people with disabilities, LGBTQ+, ethnicity, etc.)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Develop leadership training and mentoring programmes for under-represented groups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Create a welcoming and psychologically safe environment, and enable staff to work more effectively and safely through advanced work-life balance policies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42E713C1-5462-3B15-EF05-2654BBE5F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878000"/>
            <a:ext cx="4057200" cy="1980000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F99101D2-C3DA-7310-C628-96DFE39267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400" y="4878000"/>
            <a:ext cx="4057200" cy="1980000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63549C8-71E7-8D4B-2030-4C7DF6025F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B91505A-6309-1CD2-21AE-120A21BDAD10}"/>
              </a:ext>
            </a:extLst>
          </p:cNvPr>
          <p:cNvSpPr txBox="1"/>
          <p:nvPr/>
        </p:nvSpPr>
        <p:spPr>
          <a:xfrm rot="-5400000">
            <a:off x="7221744" y="5791055"/>
            <a:ext cx="1980000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Zamani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86CD9A-0C23-33E0-E780-85E9DA43DE03}"/>
              </a:ext>
            </a:extLst>
          </p:cNvPr>
          <p:cNvSpPr txBox="1"/>
          <p:nvPr/>
        </p:nvSpPr>
        <p:spPr>
          <a:xfrm rot="-5400000">
            <a:off x="3154345" y="5791055"/>
            <a:ext cx="1980000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Ávila/E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C8A82C2-D71E-BFA9-3576-B52648D4000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EB93C86-5C42-38C3-9D4F-EFA1944944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086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19D3F316-48A1-2FAF-78AC-F4C3B688D668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25829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800"/>
              </a:lnSpc>
            </a:pPr>
            <a:r>
              <a:rPr lang="en-GB" sz="2400" b="1" dirty="0">
                <a:solidFill>
                  <a:schemeClr val="bg2"/>
                </a:solidFill>
                <a:ea typeface="+mn-lt"/>
                <a:cs typeface="+mn-lt"/>
              </a:rPr>
              <a:t>Reducing our carbon </a:t>
            </a:r>
            <a:br>
              <a:rPr lang="en-GB" sz="2400" b="1" dirty="0">
                <a:solidFill>
                  <a:schemeClr val="bg2"/>
                </a:solidFill>
                <a:ea typeface="+mn-lt"/>
                <a:cs typeface="+mn-lt"/>
              </a:rPr>
            </a:br>
            <a:r>
              <a:rPr lang="en-GB" sz="2400" b="1" dirty="0">
                <a:solidFill>
                  <a:schemeClr val="bg2"/>
                </a:solidFill>
                <a:ea typeface="+mn-lt"/>
                <a:cs typeface="+mn-lt"/>
              </a:rPr>
              <a:t>footprint</a:t>
            </a:r>
            <a:endParaRPr lang="en-GB" sz="2400" dirty="0">
              <a:solidFill>
                <a:schemeClr val="bg2"/>
              </a:solidFill>
              <a:ea typeface="+mn-lt"/>
              <a:cs typeface="+mn-lt"/>
            </a:endParaRPr>
          </a:p>
          <a:p>
            <a:pPr>
              <a:lnSpc>
                <a:spcPts val="2175"/>
              </a:lnSpc>
            </a:pPr>
            <a:endParaRPr lang="en-GB" dirty="0"/>
          </a:p>
          <a:p>
            <a:pPr>
              <a:lnSpc>
                <a:spcPts val="2400"/>
              </a:lnSpc>
            </a:pPr>
            <a:r>
              <a:rPr lang="en-GB" dirty="0"/>
              <a:t>ESO is taking immediate action to reduce </a:t>
            </a:r>
            <a:br>
              <a:rPr lang="en-GB" dirty="0"/>
            </a:br>
            <a:r>
              <a:rPr lang="en-GB" dirty="0"/>
              <a:t>its carbon footprint, while also changing its operations for long-term impact</a:t>
            </a:r>
            <a:endParaRPr lang="en-GB" dirty="0">
              <a:cs typeface="Arial"/>
            </a:endParaRPr>
          </a:p>
        </p:txBody>
      </p:sp>
      <p:pic>
        <p:nvPicPr>
          <p:cNvPr id="3" name="Picture Placeholder 8">
            <a:extLst>
              <a:ext uri="{FF2B5EF4-FFF2-40B4-BE49-F238E27FC236}">
                <a16:creationId xmlns:a16="http://schemas.microsoft.com/office/drawing/2014/main" id="{43AB95A4-D953-E6D2-2697-C19440A6EB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4FE6AE6-E2B7-23B7-9F88-F3A69156D5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9C75F1-A66D-A490-F035-9CAEBF3963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137C74-C15E-9F0E-DA41-8895B42B4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2760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5BFC1-E90D-4DED-D272-5FCA903780C8}"/>
              </a:ext>
            </a:extLst>
          </p:cNvPr>
          <p:cNvSpPr txBox="1">
            <a:spLocks/>
          </p:cNvSpPr>
          <p:nvPr/>
        </p:nvSpPr>
        <p:spPr>
          <a:xfrm>
            <a:off x="936624" y="-10522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+mn-lt"/>
                <a:ea typeface="+mn-lt"/>
                <a:cs typeface="+mn-lt"/>
              </a:rPr>
              <a:t>Reducing </a:t>
            </a:r>
            <a:r>
              <a:rPr lang="en-US">
                <a:latin typeface="+mn-lt"/>
                <a:ea typeface="+mn-lt"/>
                <a:cs typeface="+mn-lt"/>
              </a:rPr>
              <a:t>our carbon </a:t>
            </a:r>
            <a:r>
              <a:rPr lang="en-US" dirty="0">
                <a:latin typeface="+mn-lt"/>
                <a:ea typeface="+mn-lt"/>
                <a:cs typeface="+mn-lt"/>
              </a:rPr>
              <a:t>f</a:t>
            </a:r>
            <a:r>
              <a:rPr lang="en-US">
                <a:latin typeface="+mn-lt"/>
                <a:ea typeface="+mn-lt"/>
                <a:cs typeface="+mn-lt"/>
              </a:rPr>
              <a:t>ootprint</a:t>
            </a:r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BE7D4C9-BCA1-D56B-B13F-B8AFF8BB4AE6}"/>
              </a:ext>
            </a:extLst>
          </p:cNvPr>
          <p:cNvSpPr txBox="1">
            <a:spLocks/>
          </p:cNvSpPr>
          <p:nvPr/>
        </p:nvSpPr>
        <p:spPr>
          <a:xfrm>
            <a:off x="936624" y="1567453"/>
            <a:ext cx="9847264" cy="30174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Power La Silla and Paranal observatories by renewable energy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Heat and cool the ESO Headquarters extension building through concrete core activation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Reduce business travel by air, instead opting for virtual meetings wherever possible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Divest from air shipping, preferring sea freight over air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Integrate sustainability into the design phase of new projects and procurement</a:t>
            </a:r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dirty="0"/>
              <a:t>Monitor our emissions regularly and update our </a:t>
            </a:r>
            <a:r>
              <a:rPr lang="en-GB"/>
              <a:t>plans accordingly</a:t>
            </a:r>
            <a:endParaRPr lang="en-GB" dirty="0"/>
          </a:p>
          <a:p>
            <a:pPr marL="285750" indent="-285750">
              <a:spcBef>
                <a:spcPts val="8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4" name="Picture Placeholder 7" descr="A picture containing solar cell, outdoor, outdoor object&#10;&#10;Description automatically generated">
            <a:extLst>
              <a:ext uri="{FF2B5EF4-FFF2-40B4-BE49-F238E27FC236}">
                <a16:creationId xmlns:a16="http://schemas.microsoft.com/office/drawing/2014/main" id="{0F333F2D-8CF4-5577-7884-F965B86AEE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878000"/>
            <a:ext cx="4057200" cy="1980000"/>
          </a:xfrm>
          <a:prstGeom prst="rect">
            <a:avLst/>
          </a:prstGeom>
          <a:solidFill>
            <a:srgbClr val="D2108D"/>
          </a:solidFill>
          <a:ln w="19050">
            <a:noFill/>
          </a:ln>
        </p:spPr>
      </p:pic>
      <p:pic>
        <p:nvPicPr>
          <p:cNvPr id="5" name="Picture Placeholder 9" descr="A picture containing sky, outdoor, building, bridge&#10;&#10;Description automatically generated">
            <a:extLst>
              <a:ext uri="{FF2B5EF4-FFF2-40B4-BE49-F238E27FC236}">
                <a16:creationId xmlns:a16="http://schemas.microsoft.com/office/drawing/2014/main" id="{8DCEE570-CBC8-D754-F9B6-4049C88B5D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400" y="4878000"/>
            <a:ext cx="4057200" cy="1980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6" name="Picture Placeholder 11" descr="A group of cars parked outside a building&#10;&#10;Description automatically generated with low confidence">
            <a:extLst>
              <a:ext uri="{FF2B5EF4-FFF2-40B4-BE49-F238E27FC236}">
                <a16:creationId xmlns:a16="http://schemas.microsoft.com/office/drawing/2014/main" id="{8EBE53D8-E7AE-7263-2724-43F2FE0C09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34800" y="4878000"/>
            <a:ext cx="4057200" cy="1980000"/>
          </a:xfrm>
          <a:prstGeom prst="rect">
            <a:avLst/>
          </a:prstGeom>
          <a:solidFill>
            <a:srgbClr val="D2108D"/>
          </a:solidFill>
          <a:ln w="19050">
            <a:noFill/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77055AF-34FE-8738-35FF-35226790E7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1CD92B-D69F-B0C2-EF04-F58E1E5E53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5AFFE56-CA84-FBE0-EE66-D7529A7F0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572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21">
            <a:extLst>
              <a:ext uri="{FF2B5EF4-FFF2-40B4-BE49-F238E27FC236}">
                <a16:creationId xmlns:a16="http://schemas.microsoft.com/office/drawing/2014/main" id="{36D94F5A-7E78-38D8-62C4-2D08530A40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5200" y="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3" name="Picture Placeholder 15">
            <a:extLst>
              <a:ext uri="{FF2B5EF4-FFF2-40B4-BE49-F238E27FC236}">
                <a16:creationId xmlns:a16="http://schemas.microsoft.com/office/drawing/2014/main" id="{71D588C1-EECF-82D0-F5DC-DFEB9621BD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4" name="Picture Placeholder 17" descr="A picture containing outdoor, sky, mountain, water&#10;&#10;Description automatically generated">
            <a:extLst>
              <a:ext uri="{FF2B5EF4-FFF2-40B4-BE49-F238E27FC236}">
                <a16:creationId xmlns:a16="http://schemas.microsoft.com/office/drawing/2014/main" id="{20D5C90D-F713-0989-C52C-2C8A8B4FC2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7600" y="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5" name="Picture Placeholder 25">
            <a:extLst>
              <a:ext uri="{FF2B5EF4-FFF2-40B4-BE49-F238E27FC236}">
                <a16:creationId xmlns:a16="http://schemas.microsoft.com/office/drawing/2014/main" id="{8220D4BC-69F1-784C-5A96-ECD47ADA64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3440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6" name="Picture Placeholder 27" descr="A picture containing outdoor object, star&#10;&#10;Description automatically generated">
            <a:extLst>
              <a:ext uri="{FF2B5EF4-FFF2-40B4-BE49-F238E27FC236}">
                <a16:creationId xmlns:a16="http://schemas.microsoft.com/office/drawing/2014/main" id="{1E94F848-6EF0-22AC-94FA-89A739B914F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7600" y="343440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7" name="Picture Placeholder 29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481B74D3-0AC1-A906-D8F0-B0689F9AEFF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5200" y="3434400"/>
            <a:ext cx="4056800" cy="34236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2D6C91E-2D58-B986-A979-D9B6AED3ED71}"/>
              </a:ext>
            </a:extLst>
          </p:cNvPr>
          <p:cNvSpPr txBox="1">
            <a:spLocks/>
          </p:cNvSpPr>
          <p:nvPr/>
        </p:nvSpPr>
        <p:spPr>
          <a:xfrm>
            <a:off x="1396999" y="2717799"/>
            <a:ext cx="2191277" cy="34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/>
              <a:t>First image of an exoplanet</a:t>
            </a:r>
            <a:endParaRPr lang="en-US" b="1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28C222BC-8389-3B85-F429-A52CD69464D6}"/>
              </a:ext>
            </a:extLst>
          </p:cNvPr>
          <p:cNvSpPr txBox="1">
            <a:spLocks/>
          </p:cNvSpPr>
          <p:nvPr/>
        </p:nvSpPr>
        <p:spPr>
          <a:xfrm>
            <a:off x="4536324" y="2717799"/>
            <a:ext cx="3119354" cy="3457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Closest exoplanet to us</a:t>
            </a:r>
            <a:endParaRPr lang="en-US" b="1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E38C6D67-CB37-BC6C-E308-89D5F5984F86}"/>
              </a:ext>
            </a:extLst>
          </p:cNvPr>
          <p:cNvSpPr txBox="1">
            <a:spLocks/>
          </p:cNvSpPr>
          <p:nvPr/>
        </p:nvSpPr>
        <p:spPr>
          <a:xfrm>
            <a:off x="8603725" y="2717799"/>
            <a:ext cx="3119354" cy="345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Planet formation</a:t>
            </a:r>
            <a:endParaRPr lang="en-US" b="1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8FDCE150-F9CA-F221-0788-6D4262D23F8A}"/>
              </a:ext>
            </a:extLst>
          </p:cNvPr>
          <p:cNvSpPr txBox="1">
            <a:spLocks/>
          </p:cNvSpPr>
          <p:nvPr/>
        </p:nvSpPr>
        <p:spPr>
          <a:xfrm>
            <a:off x="468923" y="5921011"/>
            <a:ext cx="3119354" cy="4407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First image of a black hole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89828E0-7A5B-F86A-F785-CAF90141CBDB}"/>
              </a:ext>
            </a:extLst>
          </p:cNvPr>
          <p:cNvSpPr txBox="1">
            <a:spLocks/>
          </p:cNvSpPr>
          <p:nvPr/>
        </p:nvSpPr>
        <p:spPr>
          <a:xfrm>
            <a:off x="4536324" y="5748623"/>
            <a:ext cx="3119354" cy="61316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Black hole at the centre </a:t>
            </a:r>
            <a:br>
              <a:rPr lang="en-US" b="1"/>
            </a:br>
            <a:r>
              <a:rPr lang="en-US" b="1"/>
              <a:t>of the Milky Way</a:t>
            </a:r>
            <a:endParaRPr lang="en-US" b="1" dirty="0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3578129F-3A28-0E28-4476-C28DC45F521F}"/>
              </a:ext>
            </a:extLst>
          </p:cNvPr>
          <p:cNvSpPr txBox="1">
            <a:spLocks/>
          </p:cNvSpPr>
          <p:nvPr/>
        </p:nvSpPr>
        <p:spPr>
          <a:xfrm>
            <a:off x="8603724" y="5921011"/>
            <a:ext cx="3119354" cy="4407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Accelerating Universe</a:t>
            </a:r>
          </a:p>
        </p:txBody>
      </p:sp>
      <p:pic>
        <p:nvPicPr>
          <p:cNvPr id="25" name="Grafik 2">
            <a:extLst>
              <a:ext uri="{FF2B5EF4-FFF2-40B4-BE49-F238E27FC236}">
                <a16:creationId xmlns:a16="http://schemas.microsoft.com/office/drawing/2014/main" id="{1F4B1224-71BD-405D-9BF5-335030AFBA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7600" y="847913"/>
            <a:ext cx="4056800" cy="1418745"/>
          </a:xfrm>
          <a:prstGeom prst="rect">
            <a:avLst/>
          </a:prstGeom>
          <a:ln>
            <a:noFill/>
          </a:ln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6B93BF3F-59FD-2AEF-3235-1DAD395E49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7785B8D-E0E9-E393-DD14-42505C96A5CE}"/>
              </a:ext>
            </a:extLst>
          </p:cNvPr>
          <p:cNvSpPr txBox="1"/>
          <p:nvPr/>
        </p:nvSpPr>
        <p:spPr>
          <a:xfrm rot="-5400000">
            <a:off x="6734500" y="4835099"/>
            <a:ext cx="29552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44ECCF-E989-4196-E31A-18DD4A5586DF}"/>
              </a:ext>
            </a:extLst>
          </p:cNvPr>
          <p:cNvSpPr txBox="1"/>
          <p:nvPr/>
        </p:nvSpPr>
        <p:spPr>
          <a:xfrm rot="-5400000">
            <a:off x="6734500" y="1869011"/>
            <a:ext cx="29552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CF6567-FB5C-2D8A-19B3-A14C78487E5E}"/>
              </a:ext>
            </a:extLst>
          </p:cNvPr>
          <p:cNvSpPr txBox="1"/>
          <p:nvPr/>
        </p:nvSpPr>
        <p:spPr>
          <a:xfrm rot="-5400000">
            <a:off x="2666901" y="4835099"/>
            <a:ext cx="29552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illessen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et al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BBB1A59-5FFE-5BAF-8BF1-80FD8B815214}"/>
              </a:ext>
            </a:extLst>
          </p:cNvPr>
          <p:cNvSpPr txBox="1"/>
          <p:nvPr/>
        </p:nvSpPr>
        <p:spPr>
          <a:xfrm rot="-5400000">
            <a:off x="-1400700" y="4835099"/>
            <a:ext cx="29552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HT Collaboratio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62F04FE-50B1-CE90-D829-91EB92D149C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20849D3-6832-59D7-6F52-99696CC5B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6314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A6E5BF0-0EF3-ACEB-2F9D-A43337F80CA7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echnology and innovation </a:t>
            </a:r>
            <a:br>
              <a:rPr lang="en-GB" dirty="0"/>
            </a:br>
            <a:r>
              <a:rPr lang="en-GB" dirty="0"/>
              <a:t>at ESO​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8666CB9-9D4E-6319-93C8-112B74C5A4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606D10-3325-16F4-E46A-E13A0C4220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88AF99-CA55-FA41-EAAB-4FD7C6B97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277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outdoor, tarmac, night sky&#10;&#10;Description automatically generated">
            <a:extLst>
              <a:ext uri="{FF2B5EF4-FFF2-40B4-BE49-F238E27FC236}">
                <a16:creationId xmlns:a16="http://schemas.microsoft.com/office/drawing/2014/main" id="{40240878-0C7F-5575-FB82-0662C4EE2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077437B-6789-8F44-26B7-BCE7DB1C798E}"/>
              </a:ext>
            </a:extLst>
          </p:cNvPr>
          <p:cNvSpPr txBox="1">
            <a:spLocks/>
          </p:cNvSpPr>
          <p:nvPr/>
        </p:nvSpPr>
        <p:spPr>
          <a:xfrm>
            <a:off x="936625" y="1781411"/>
            <a:ext cx="4393659" cy="201927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/>
              <a:t>ESO promotes the emergence</a:t>
            </a:r>
            <a:r>
              <a:rPr lang="en-GB" b="1" dirty="0"/>
              <a:t> of new technologies and expertise, </a:t>
            </a:r>
            <a:r>
              <a:rPr lang="en-GB" dirty="0"/>
              <a:t>leading to new markets, jobs and industrial collaboration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3967B5-9E7D-1A9F-4596-16B38E1A66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FDA629A-13CC-0966-8087-E9DFF656971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38C9F27-A377-3608-19D0-EB5AC6B4B11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3E044B-3F80-0A47-75CF-508E61775A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70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37B5ABF9-8116-70D2-7569-FA6C540C691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2C1DA5-897B-A21A-D43F-8AB83B486E5C}"/>
              </a:ext>
            </a:extLst>
          </p:cNvPr>
          <p:cNvSpPr txBox="1">
            <a:spLocks/>
          </p:cNvSpPr>
          <p:nvPr/>
        </p:nvSpPr>
        <p:spPr>
          <a:xfrm>
            <a:off x="936000" y="4307838"/>
            <a:ext cx="4532353" cy="16089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2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-speed </a:t>
            </a:r>
            <a:b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low-noise detectors</a:t>
            </a:r>
            <a:b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stronomy, also applicable </a:t>
            </a:r>
            <a:b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life sciences research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BD548C6-293B-2712-A1C2-18C5702F0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D80DE99-6A6F-48BC-51C8-CFF330C7CC45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effectLst/>
                <a:latin typeface="HelveticaNeueLT Com 55 Roman" panose="020B0604020202020204" pitchFamily="34" charset="77"/>
              </a:rPr>
              <a:t>Credit: P. </a:t>
            </a:r>
            <a:r>
              <a:rPr lang="en-GB" sz="400" u="none" strike="noStrike" dirty="0" err="1">
                <a:effectLst/>
                <a:latin typeface="HelveticaNeueLT Com 55 Roman" panose="020B0604020202020204" pitchFamily="34" charset="77"/>
              </a:rPr>
              <a:t>Balard</a:t>
            </a:r>
            <a:r>
              <a:rPr lang="en-GB" sz="400" u="none" strike="noStrike" dirty="0">
                <a:effectLst/>
                <a:latin typeface="HelveticaNeueLT Com 55 Roman" panose="020B0604020202020204" pitchFamily="34" charset="77"/>
              </a:rPr>
              <a:t>/INSU-CNRS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EB7DD0-4C81-8EF0-612B-4C71F350C13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BA3907-666F-FD96-7984-F3C317BCF1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63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F0DDE694-0CF5-DEF3-E1AB-30CC8A8DFD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1E86BF3-28EF-45CE-A0AB-3990E3530BA2}"/>
              </a:ext>
            </a:extLst>
          </p:cNvPr>
          <p:cNvSpPr txBox="1">
            <a:spLocks/>
          </p:cNvSpPr>
          <p:nvPr/>
        </p:nvSpPr>
        <p:spPr>
          <a:xfrm>
            <a:off x="936624" y="4722843"/>
            <a:ext cx="6829760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/>
              <a:t>Novel </a:t>
            </a:r>
            <a:r>
              <a:rPr lang="en-GB" b="1" dirty="0"/>
              <a:t>high-power lasers</a:t>
            </a:r>
            <a:r>
              <a:rPr lang="en-GB" dirty="0"/>
              <a:t> for adaptive optics, </a:t>
            </a:r>
            <a:br>
              <a:rPr lang="en-GB" dirty="0"/>
            </a:br>
            <a:r>
              <a:rPr lang="en-GB" dirty="0"/>
              <a:t>also applicable in space situational awareness </a:t>
            </a:r>
            <a:br>
              <a:rPr lang="en-GB" dirty="0"/>
            </a:br>
            <a:r>
              <a:rPr lang="en-GB" dirty="0"/>
              <a:t>and optical satellite communications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EBA5FC0-83CC-081E-D17A-0840DD9119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10E8796-98A3-E2E5-6E43-A0EA7499CFD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Roland Bacon/E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5862BB-8F75-7D48-1DFC-6DA5AB67F56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F01667-1849-2B9F-6FBB-0D4E66CBD4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54811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9FD32B27-BE80-AB98-41B5-7832A6D115D7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28827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en-US" sz="2400" b="1" dirty="0">
                <a:solidFill>
                  <a:schemeClr val="bg2"/>
                </a:solidFill>
                <a:ea typeface="+mn-lt"/>
                <a:cs typeface="+mn-lt"/>
              </a:rPr>
              <a:t>ESO’s ELT technology </a:t>
            </a:r>
            <a:br>
              <a:rPr lang="en-US" sz="2400" b="1" dirty="0">
                <a:solidFill>
                  <a:schemeClr val="bg2"/>
                </a:solidFill>
                <a:ea typeface="+mn-lt"/>
                <a:cs typeface="+mn-lt"/>
              </a:rPr>
            </a:br>
            <a:r>
              <a:rPr lang="en-US" sz="2400" b="1" dirty="0">
                <a:solidFill>
                  <a:schemeClr val="bg2"/>
                </a:solidFill>
                <a:ea typeface="+mn-lt"/>
                <a:cs typeface="+mn-lt"/>
              </a:rPr>
              <a:t>innovations</a:t>
            </a:r>
            <a:endParaRPr lang="en-US" sz="2400" dirty="0">
              <a:solidFill>
                <a:schemeClr val="bg2"/>
              </a:solidFill>
              <a:cs typeface="Arial"/>
            </a:endParaRPr>
          </a:p>
          <a:p>
            <a:endParaRPr lang="en-GB" dirty="0">
              <a:cs typeface="Arial"/>
            </a:endParaRPr>
          </a:p>
          <a:p>
            <a:pPr>
              <a:lnSpc>
                <a:spcPts val="2400"/>
              </a:lnSpc>
            </a:pPr>
            <a:r>
              <a:rPr lang="en-GB" dirty="0">
                <a:cs typeface="Arial"/>
              </a:rPr>
              <a:t>ESO’s ELT is pushing the state of the art in technology beyond what was possible before, opening new business markets for industry in the Member States</a:t>
            </a:r>
          </a:p>
        </p:txBody>
      </p:sp>
      <p:pic>
        <p:nvPicPr>
          <p:cNvPr id="3" name="Picture 6" descr="A picture containing metal, building, station, structure&#10;&#10;Description automatically generated">
            <a:extLst>
              <a:ext uri="{FF2B5EF4-FFF2-40B4-BE49-F238E27FC236}">
                <a16:creationId xmlns:a16="http://schemas.microsoft.com/office/drawing/2014/main" id="{AEB8ADC8-7133-8C3B-E1F0-FC74695AF4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3B3C79E-602E-D597-35FD-558F033138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4E4D2A-BF70-BE97-2484-F98468A89723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Ce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Consortium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48B8A4-562B-7797-4D6E-A82F32E17F9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1D6037-B273-65DE-0EB2-73390A8D86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658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_2.2_ESO_template_final.potx" id="{7591B3CC-3920-4B45-AB62-9D47BD30E5F2}" vid="{467B0F51-1F43-4296-97EB-BCE3CEBC86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_2.2_ESO_template_final</Template>
  <TotalTime>0</TotalTime>
  <Words>1176</Words>
  <Application>Microsoft Office PowerPoint</Application>
  <PresentationFormat>Breitbild</PresentationFormat>
  <Paragraphs>206</Paragraphs>
  <Slides>3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8" baseType="lpstr">
      <vt:lpstr>Arial</vt:lpstr>
      <vt:lpstr>Calibri</vt:lpstr>
      <vt:lpstr>Georgia</vt:lpstr>
      <vt:lpstr>HelveticaNeueLT Com 55 Roman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E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 sectetuer adipiscing commodo ligula dolor.</dc:title>
  <dc:creator>Martin Wallner</dc:creator>
  <cp:lastModifiedBy>Martin Wallner</cp:lastModifiedBy>
  <cp:revision>97</cp:revision>
  <cp:lastPrinted>2022-12-12T15:42:42Z</cp:lastPrinted>
  <dcterms:created xsi:type="dcterms:W3CDTF">2022-12-08T12:18:25Z</dcterms:created>
  <dcterms:modified xsi:type="dcterms:W3CDTF">2023-05-22T12:23:03Z</dcterms:modified>
</cp:coreProperties>
</file>